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5.xml" ContentType="application/vnd.openxmlformats-officedocument.themeOverr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6.xml" ContentType="application/vnd.openxmlformats-officedocument.themeOverr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7.xml" ContentType="application/vnd.openxmlformats-officedocument.themeOverride+xml"/>
  <Override PartName="/ppt/tags/tag10.xml" ContentType="application/vnd.openxmlformats-officedocument.presentationml.tags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10.xml" ContentType="application/vnd.openxmlformats-officedocument.themeOverride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sldIdLst>
    <p:sldId id="947" r:id="rId5"/>
    <p:sldId id="264" r:id="rId6"/>
    <p:sldId id="273" r:id="rId7"/>
    <p:sldId id="945" r:id="rId8"/>
    <p:sldId id="268" r:id="rId9"/>
    <p:sldId id="265" r:id="rId10"/>
    <p:sldId id="942" r:id="rId11"/>
    <p:sldId id="943" r:id="rId12"/>
    <p:sldId id="948" r:id="rId13"/>
    <p:sldId id="2147481438" r:id="rId1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0C5A"/>
    <a:srgbClr val="0E065A"/>
    <a:srgbClr val="10069F"/>
    <a:srgbClr val="F0F3F7"/>
    <a:srgbClr val="10065A"/>
    <a:srgbClr val="6C61F9"/>
    <a:srgbClr val="000000"/>
    <a:srgbClr val="E7E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CA703D-06B4-4ABB-8D65-382A9EDDFE96}" v="212" dt="2025-12-03T14:38:26.850"/>
  </p1510:revLst>
</p1510:revInfo>
</file>

<file path=ppt/tableStyles.xml><?xml version="1.0" encoding="utf-8"?>
<a:tblStyleLst xmlns:a="http://schemas.openxmlformats.org/drawingml/2006/main" def="{0817EA92-75D0-4044-A80A-286907CE0D05}">
  <a:tblStyle styleId="{0817EA92-75D0-4044-A80A-286907CE0D03}" styleName="2. VCI-Dunkelblau 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10065A"/>
              </a:solidFill>
            </a:ln>
          </a:bottom>
          <a:insideH>
            <a:ln w="7500">
              <a:solidFill>
                <a:srgbClr val="10065A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Row>
      <a:tcTxStyle b="on"/>
      <a:tcStyle>
        <a:tcBdr>
          <a:top>
            <a:ln w="15000">
              <a:solidFill>
                <a:srgbClr val="10065A"/>
              </a:solidFill>
            </a:ln>
          </a:top>
        </a:tcBdr>
      </a:tcStyle>
    </a:lastRow>
    <a:firstRow>
      <a:tcTxStyle b="on">
        <a:fontRef idx="minor">
          <a:scrgbClr r="0" g="0" b="0"/>
        </a:fontRef>
        <a:srgbClr val="FFFFFF"/>
      </a:tcTxStyle>
      <a:tcStyle>
        <a:tcBdr/>
        <a:fillRef idx="1">
          <a:srgbClr val="10065A"/>
        </a:fillRef>
      </a:tcStyle>
    </a:firstRow>
  </a:tblStyle>
  <a:tblStyle styleId="{0817EA92-75D0-4044-A80A-286907CE0D04}" styleName="2. VCI-Dunkelblau I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10065A"/>
              </a:solidFill>
            </a:ln>
          </a:bottom>
          <a:insideH>
            <a:ln w="7500">
              <a:solidFill>
                <a:srgbClr val="10065A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E7E6EF"/>
          </a:solidFill>
        </a:fill>
      </a:tcStyle>
    </a:band1H>
    <a:band2H>
      <a:tcStyle>
        <a:tcBdr/>
      </a:tcStyle>
    </a:band2H>
    <a:lastRow>
      <a:tcTxStyle b="on"/>
      <a:tcStyle>
        <a:tcBdr>
          <a:top>
            <a:ln w="15000">
              <a:solidFill>
                <a:srgbClr val="10065A"/>
              </a:solidFill>
            </a:ln>
          </a:top>
        </a:tcBdr>
        <a:fill>
          <a:noFill/>
        </a:fill>
      </a:tcStyle>
    </a:lastRow>
    <a:firstRow>
      <a:tcTxStyle b="on">
        <a:fontRef idx="minor">
          <a:scrgbClr r="0" g="0" b="0"/>
        </a:fontRef>
        <a:srgbClr val="10065A"/>
      </a:tcTxStyle>
      <a:tcStyle>
        <a:tcBdr>
          <a:bottom>
            <a:ln w="15000">
              <a:solidFill>
                <a:srgbClr val="10065A"/>
              </a:solidFill>
            </a:ln>
          </a:bottom>
        </a:tcBdr>
        <a:fill>
          <a:noFill/>
        </a:fill>
      </a:tcStyle>
    </a:firstRow>
  </a:tblStyle>
  <a:tblStyle styleId="{0817EA92-75D0-4044-A80A-286907CE0DDB}" styleName="1. VCI-Blau 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10069F"/>
              </a:solidFill>
            </a:ln>
          </a:bottom>
          <a:insideH>
            <a:ln w="7500">
              <a:solidFill>
                <a:srgbClr val="10069F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Row>
      <a:tcTxStyle b="on"/>
      <a:tcStyle>
        <a:tcBdr>
          <a:top>
            <a:ln w="15000">
              <a:solidFill>
                <a:srgbClr val="10069F"/>
              </a:solidFill>
            </a:ln>
          </a:top>
        </a:tcBdr>
      </a:tcStyle>
    </a:lastRow>
    <a:firstRow>
      <a:tcTxStyle b="on">
        <a:fontRef idx="minor">
          <a:scrgbClr r="0" g="0" b="0"/>
        </a:fontRef>
        <a:srgbClr val="FFFFFF"/>
      </a:tcTxStyle>
      <a:tcStyle>
        <a:tcBdr/>
        <a:fillRef idx="1">
          <a:srgbClr val="10069F"/>
        </a:fillRef>
      </a:tcStyle>
    </a:firstRow>
  </a:tblStyle>
  <a:tblStyle styleId="{0817EA92-75D0-4044-A80A-286907CE0D02}" styleName="1. VCI-Blau I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10069F"/>
              </a:solidFill>
            </a:ln>
          </a:bottom>
          <a:insideH>
            <a:ln w="7500">
              <a:solidFill>
                <a:srgbClr val="10069F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E7E6F6"/>
          </a:solidFill>
        </a:fill>
      </a:tcStyle>
    </a:band1H>
    <a:band2H>
      <a:tcStyle>
        <a:tcBdr/>
      </a:tcStyle>
    </a:band2H>
    <a:lastRow>
      <a:tcTxStyle b="on"/>
      <a:tcStyle>
        <a:tcBdr>
          <a:top>
            <a:ln w="15000">
              <a:solidFill>
                <a:srgbClr val="10069F"/>
              </a:solidFill>
            </a:ln>
          </a:top>
        </a:tcBdr>
        <a:fill>
          <a:noFill/>
        </a:fill>
      </a:tcStyle>
    </a:lastRow>
    <a:firstRow>
      <a:tcTxStyle b="on">
        <a:fontRef idx="minor">
          <a:scrgbClr r="0" g="0" b="0"/>
        </a:fontRef>
        <a:srgbClr val="10069F"/>
      </a:tcTxStyle>
      <a:tcStyle>
        <a:tcBdr>
          <a:bottom>
            <a:ln w="15000">
              <a:solidFill>
                <a:srgbClr val="10069F"/>
              </a:solidFill>
            </a:ln>
          </a:bottom>
        </a:tcBdr>
        <a:fill>
          <a:noFill/>
        </a:fill>
      </a:tcStyle>
    </a:firstRow>
  </a:tblStyle>
  <a:tblStyle styleId="{0817EA92-75D0-4044-A80A-286907CE0D05}" styleName="3. VCI-Pink 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FF3EB5"/>
              </a:solidFill>
            </a:ln>
          </a:bottom>
          <a:insideH>
            <a:ln w="7500">
              <a:solidFill>
                <a:srgbClr val="FF3EB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Row>
      <a:tcTxStyle b="on"/>
      <a:tcStyle>
        <a:tcBdr>
          <a:top>
            <a:ln w="15000">
              <a:solidFill>
                <a:srgbClr val="FF3EB5"/>
              </a:solidFill>
            </a:ln>
          </a:top>
        </a:tcBdr>
      </a:tcStyle>
    </a:lastRow>
    <a:firstRow>
      <a:tcTxStyle b="on">
        <a:fontRef idx="minor">
          <a:scrgbClr r="0" g="0" b="0"/>
        </a:fontRef>
        <a:srgbClr val="FFFFFF"/>
      </a:tcTxStyle>
      <a:tcStyle>
        <a:tcBdr/>
        <a:fillRef idx="1">
          <a:srgbClr val="FF3EB5"/>
        </a:fillRef>
      </a:tcStyle>
    </a:firstRow>
  </a:tblStyle>
  <a:tblStyle styleId="{0817EA92-75D0-4044-A80A-286907CE0D06}" styleName="3. VCI-Pink I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FF3EB5"/>
              </a:solidFill>
            </a:ln>
          </a:bottom>
          <a:insideH>
            <a:ln w="7500">
              <a:solidFill>
                <a:srgbClr val="FF3EB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FFECF8"/>
          </a:solidFill>
        </a:fill>
      </a:tcStyle>
    </a:band1H>
    <a:band2H>
      <a:tcStyle>
        <a:tcBdr/>
      </a:tcStyle>
    </a:band2H>
    <a:lastRow>
      <a:tcTxStyle b="on"/>
      <a:tcStyle>
        <a:tcBdr>
          <a:top>
            <a:ln w="15000">
              <a:solidFill>
                <a:srgbClr val="FF3EB5"/>
              </a:solidFill>
            </a:ln>
          </a:top>
        </a:tcBdr>
        <a:fill>
          <a:noFill/>
        </a:fill>
      </a:tcStyle>
    </a:lastRow>
    <a:firstRow>
      <a:tcTxStyle b="on">
        <a:fontRef idx="minor">
          <a:scrgbClr r="0" g="0" b="0"/>
        </a:fontRef>
        <a:srgbClr val="FF3EB5"/>
      </a:tcTxStyle>
      <a:tcStyle>
        <a:tcBdr>
          <a:bottom>
            <a:ln w="15000">
              <a:solidFill>
                <a:srgbClr val="FF3EB5"/>
              </a:solidFill>
            </a:ln>
          </a:bottom>
        </a:tcBdr>
        <a:fill>
          <a:noFill/>
        </a:fill>
      </a:tcStyle>
    </a:firstRow>
  </a:tblStyle>
  <a:tblStyle styleId="{0817EA92-75D0-4044-A80A-286907CE0D07}" styleName="4. VCI-Tuerkis 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10ADAA"/>
              </a:solidFill>
            </a:ln>
          </a:bottom>
          <a:insideH>
            <a:ln w="7500">
              <a:solidFill>
                <a:srgbClr val="10ADAA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Row>
      <a:tcTxStyle b="on"/>
      <a:tcStyle>
        <a:tcBdr>
          <a:top>
            <a:ln w="15000">
              <a:solidFill>
                <a:srgbClr val="10ADAA"/>
              </a:solidFill>
            </a:ln>
          </a:top>
        </a:tcBdr>
      </a:tcStyle>
    </a:lastRow>
    <a:firstRow>
      <a:tcTxStyle b="on">
        <a:fontRef idx="minor">
          <a:scrgbClr r="0" g="0" b="0"/>
        </a:fontRef>
        <a:srgbClr val="FFFFFF"/>
      </a:tcTxStyle>
      <a:tcStyle>
        <a:tcBdr/>
        <a:fillRef idx="1">
          <a:srgbClr val="10ADAA"/>
        </a:fillRef>
      </a:tcStyle>
    </a:firstRow>
  </a:tblStyle>
  <a:tblStyle styleId="{0817EA92-75D0-4044-A80A-286907CE0D08}" styleName="4. VCI-Tuerkis I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10ADAA"/>
              </a:solidFill>
            </a:ln>
          </a:bottom>
          <a:insideH>
            <a:ln w="7500">
              <a:solidFill>
                <a:srgbClr val="10ADAA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E7F6F6"/>
          </a:solidFill>
        </a:fill>
      </a:tcStyle>
    </a:band1H>
    <a:band2H>
      <a:tcStyle>
        <a:tcBdr/>
      </a:tcStyle>
    </a:band2H>
    <a:lastRow>
      <a:tcTxStyle b="on"/>
      <a:tcStyle>
        <a:tcBdr>
          <a:top>
            <a:ln w="15000">
              <a:solidFill>
                <a:srgbClr val="10ADAA"/>
              </a:solidFill>
            </a:ln>
          </a:top>
        </a:tcBdr>
        <a:fill>
          <a:noFill/>
        </a:fill>
      </a:tcStyle>
    </a:lastRow>
    <a:firstRow>
      <a:tcTxStyle b="on">
        <a:fontRef idx="minor">
          <a:scrgbClr r="0" g="0" b="0"/>
        </a:fontRef>
        <a:srgbClr val="10ADAA"/>
      </a:tcTxStyle>
      <a:tcStyle>
        <a:tcBdr>
          <a:bottom>
            <a:ln w="15000">
              <a:solidFill>
                <a:srgbClr val="10ADAA"/>
              </a:solidFill>
            </a:ln>
          </a:bottom>
        </a:tcBdr>
        <a:fill>
          <a:noFill/>
        </a:fill>
      </a:tcStyle>
    </a:firstRow>
  </a:tblStyle>
  <a:tblStyle styleId="{0817EA92-75D0-4044-A80A-286907CE0D09}" styleName="5. VCI-Violett 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8C3E9F"/>
              </a:solidFill>
            </a:ln>
          </a:bottom>
          <a:insideH>
            <a:ln w="7500">
              <a:solidFill>
                <a:srgbClr val="8C3E9F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Row>
      <a:tcTxStyle b="on"/>
      <a:tcStyle>
        <a:tcBdr>
          <a:top>
            <a:ln w="15000">
              <a:solidFill>
                <a:srgbClr val="8C3E9F"/>
              </a:solidFill>
            </a:ln>
          </a:top>
        </a:tcBdr>
      </a:tcStyle>
    </a:lastRow>
    <a:firstRow>
      <a:tcTxStyle b="on">
        <a:fontRef idx="minor">
          <a:scrgbClr r="0" g="0" b="0"/>
        </a:fontRef>
        <a:srgbClr val="FFFFFF"/>
      </a:tcTxStyle>
      <a:tcStyle>
        <a:tcBdr/>
        <a:fillRef idx="1">
          <a:srgbClr val="8C3E9F"/>
        </a:fillRef>
      </a:tcStyle>
    </a:firstRow>
  </a:tblStyle>
  <a:tblStyle styleId="{0817EA92-75D0-4044-A80A-286907CE0D10}" styleName="5. VCI-Violett I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8C3E9F"/>
              </a:solidFill>
            </a:ln>
          </a:bottom>
          <a:insideH>
            <a:ln w="7500">
              <a:solidFill>
                <a:srgbClr val="8C3E9F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F3EBF5"/>
          </a:solidFill>
        </a:fill>
      </a:tcStyle>
    </a:band1H>
    <a:band2H>
      <a:tcStyle>
        <a:tcBdr/>
      </a:tcStyle>
    </a:band2H>
    <a:lastRow>
      <a:tcTxStyle b="on"/>
      <a:tcStyle>
        <a:tcBdr>
          <a:top>
            <a:ln w="15000">
              <a:solidFill>
                <a:srgbClr val="8C3E9F"/>
              </a:solidFill>
            </a:ln>
          </a:top>
        </a:tcBdr>
        <a:fill>
          <a:noFill/>
        </a:fill>
      </a:tcStyle>
    </a:lastRow>
    <a:firstRow>
      <a:tcTxStyle b="on">
        <a:fontRef idx="minor">
          <a:scrgbClr r="0" g="0" b="0"/>
        </a:fontRef>
        <a:srgbClr val="8C3E9F"/>
      </a:tcTxStyle>
      <a:tcStyle>
        <a:tcBdr>
          <a:bottom>
            <a:ln w="15000">
              <a:solidFill>
                <a:srgbClr val="8C3E9F"/>
              </a:solidFill>
            </a:ln>
          </a:bottom>
        </a:tcBdr>
        <a:fill>
          <a:noFill/>
        </a:fill>
      </a:tcStyle>
    </a:firstRow>
  </a:tblStyle>
  <a:tblStyle styleId="{0817EA92-75D0-4044-A80A-286907CE0D11}" styleName="6. VCI-Orange 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FF4414"/>
              </a:solidFill>
            </a:ln>
          </a:bottom>
          <a:insideH>
            <a:ln w="7500">
              <a:solidFill>
                <a:srgbClr val="FF441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Row>
      <a:tcTxStyle b="on"/>
      <a:tcStyle>
        <a:tcBdr>
          <a:top>
            <a:ln w="15000">
              <a:solidFill>
                <a:srgbClr val="FF4414"/>
              </a:solidFill>
            </a:ln>
          </a:top>
        </a:tcBdr>
      </a:tcStyle>
    </a:lastRow>
    <a:firstRow>
      <a:tcTxStyle b="on">
        <a:fontRef idx="minor">
          <a:scrgbClr r="0" g="0" b="0"/>
        </a:fontRef>
        <a:srgbClr val="FFFFFF"/>
      </a:tcTxStyle>
      <a:tcStyle>
        <a:tcBdr/>
        <a:fillRef idx="1">
          <a:srgbClr val="FF4414"/>
        </a:fillRef>
      </a:tcStyle>
    </a:firstRow>
  </a:tblStyle>
  <a:tblStyle styleId="{0817EA92-75D0-4044-A80A-286907CE0D12}" styleName="6. VCI-Orange I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FF4414"/>
              </a:solidFill>
            </a:ln>
          </a:bottom>
          <a:insideH>
            <a:ln w="7500">
              <a:solidFill>
                <a:srgbClr val="FF441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FFEDE8"/>
          </a:solidFill>
        </a:fill>
      </a:tcStyle>
    </a:band1H>
    <a:band2H>
      <a:tcStyle>
        <a:tcBdr/>
      </a:tcStyle>
    </a:band2H>
    <a:lastRow>
      <a:tcTxStyle b="on"/>
      <a:tcStyle>
        <a:tcBdr>
          <a:top>
            <a:ln w="15000">
              <a:solidFill>
                <a:srgbClr val="FF4414"/>
              </a:solidFill>
            </a:ln>
          </a:top>
        </a:tcBdr>
        <a:fill>
          <a:noFill/>
        </a:fill>
      </a:tcStyle>
    </a:lastRow>
    <a:firstRow>
      <a:tcTxStyle b="on">
        <a:fontRef idx="minor">
          <a:scrgbClr r="0" g="0" b="0"/>
        </a:fontRef>
        <a:srgbClr val="FF4414"/>
      </a:tcTxStyle>
      <a:tcStyle>
        <a:tcBdr>
          <a:bottom>
            <a:ln w="15000">
              <a:solidFill>
                <a:srgbClr val="FF4414"/>
              </a:solidFill>
            </a:ln>
          </a:bottom>
        </a:tcBdr>
        <a:fill>
          <a:noFill/>
        </a:fill>
      </a:tcStyle>
    </a:firstRow>
  </a:tblStyle>
  <a:tblStyle styleId="{0817EA92-75D0-4044-A80A-286907CE0D13}" styleName="7. VCI-Gold 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FFAD00"/>
              </a:solidFill>
            </a:ln>
          </a:bottom>
          <a:insideH>
            <a:ln w="7500">
              <a:solidFill>
                <a:srgbClr val="FFAD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Row>
      <a:tcTxStyle b="on"/>
      <a:tcStyle>
        <a:tcBdr>
          <a:top>
            <a:ln w="15000">
              <a:solidFill>
                <a:srgbClr val="FFAD00"/>
              </a:solidFill>
            </a:ln>
          </a:top>
        </a:tcBdr>
      </a:tcStyle>
    </a:lastRow>
    <a:firstRow>
      <a:tcTxStyle b="on">
        <a:fontRef idx="minor">
          <a:scrgbClr r="0" g="0" b="0"/>
        </a:fontRef>
        <a:srgbClr val="FFFFFF"/>
      </a:tcTxStyle>
      <a:tcStyle>
        <a:tcBdr/>
        <a:fillRef idx="1">
          <a:srgbClr val="FFAD00"/>
        </a:fillRef>
      </a:tcStyle>
    </a:firstRow>
  </a:tblStyle>
  <a:tblStyle styleId="{0817EA92-75D0-4044-A80A-286907CE0D14}" styleName="7. VCI-Gold I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FFAD00"/>
              </a:solidFill>
            </a:ln>
          </a:bottom>
          <a:insideH>
            <a:ln w="7500">
              <a:solidFill>
                <a:srgbClr val="FFAD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FFF6E5"/>
          </a:solidFill>
        </a:fill>
      </a:tcStyle>
    </a:band1H>
    <a:band2H>
      <a:tcStyle>
        <a:tcBdr/>
      </a:tcStyle>
    </a:band2H>
    <a:lastRow>
      <a:tcTxStyle b="on"/>
      <a:tcStyle>
        <a:tcBdr>
          <a:top>
            <a:ln w="15000">
              <a:solidFill>
                <a:srgbClr val="FFAD00"/>
              </a:solidFill>
            </a:ln>
          </a:top>
        </a:tcBdr>
        <a:fill>
          <a:noFill/>
        </a:fill>
      </a:tcStyle>
    </a:lastRow>
    <a:firstRow>
      <a:tcTxStyle b="on">
        <a:fontRef idx="minor">
          <a:scrgbClr r="0" g="0" b="0"/>
        </a:fontRef>
        <a:srgbClr val="FFAD00"/>
      </a:tcTxStyle>
      <a:tcStyle>
        <a:tcBdr>
          <a:bottom>
            <a:ln w="15000">
              <a:solidFill>
                <a:srgbClr val="FFAD00"/>
              </a:solidFill>
            </a:ln>
          </a:bottom>
        </a:tcBdr>
        <a:fill>
          <a:noFill/>
        </a:fill>
      </a:tcStyle>
    </a:firstRow>
  </a:tblStyle>
  <a:tblStyle styleId="{0817EA92-75D0-4044-A80A-286907CE0D15}" styleName="8. VCI-Gruen 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10AD00"/>
              </a:solidFill>
            </a:ln>
          </a:bottom>
          <a:insideH>
            <a:ln w="7500">
              <a:solidFill>
                <a:srgbClr val="10AD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Row>
      <a:tcTxStyle b="on"/>
      <a:tcStyle>
        <a:tcBdr>
          <a:top>
            <a:ln w="15000">
              <a:solidFill>
                <a:srgbClr val="10AD00"/>
              </a:solidFill>
            </a:ln>
          </a:top>
        </a:tcBdr>
      </a:tcStyle>
    </a:lastRow>
    <a:firstRow>
      <a:tcTxStyle b="on">
        <a:fontRef idx="minor">
          <a:scrgbClr r="0" g="0" b="0"/>
        </a:fontRef>
        <a:srgbClr val="FFFFFF"/>
      </a:tcTxStyle>
      <a:tcStyle>
        <a:tcBdr/>
        <a:fillRef idx="1">
          <a:srgbClr val="10AD00"/>
        </a:fillRef>
      </a:tcStyle>
    </a:firstRow>
  </a:tblStyle>
  <a:tblStyle styleId="{0817EA92-75D0-4044-A80A-286907CE0D16}" styleName="8. VCI-Gruen II">
    <a:wholeTbl>
      <a:tcTxStyle>
        <a:fontRef idx="minor">
          <a:scrgbClr r="0" g="0" b="0"/>
        </a:fontRef>
        <a:srgbClr val="10065A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5000">
              <a:solidFill>
                <a:srgbClr val="10AD00"/>
              </a:solidFill>
            </a:ln>
          </a:bottom>
          <a:insideH>
            <a:ln w="7500">
              <a:solidFill>
                <a:srgbClr val="10AD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E7F7E6"/>
          </a:solidFill>
        </a:fill>
      </a:tcStyle>
    </a:band1H>
    <a:band2H>
      <a:tcStyle>
        <a:tcBdr/>
      </a:tcStyle>
    </a:band2H>
    <a:lastRow>
      <a:tcTxStyle b="on"/>
      <a:tcStyle>
        <a:tcBdr>
          <a:top>
            <a:ln w="15000">
              <a:solidFill>
                <a:srgbClr val="10AD00"/>
              </a:solidFill>
            </a:ln>
          </a:top>
        </a:tcBdr>
        <a:fill>
          <a:noFill/>
        </a:fill>
      </a:tcStyle>
    </a:lastRow>
    <a:firstRow>
      <a:tcTxStyle b="on">
        <a:fontRef idx="minor">
          <a:scrgbClr r="0" g="0" b="0"/>
        </a:fontRef>
        <a:srgbClr val="10AD00"/>
      </a:tcTxStyle>
      <a:tcStyle>
        <a:tcBdr>
          <a:bottom>
            <a:ln w="15000">
              <a:solidFill>
                <a:srgbClr val="10AD00"/>
              </a:solidFill>
            </a:ln>
          </a:bottom>
        </a:tcBdr>
        <a:fill>
          <a:noFill/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229" autoAdjust="0"/>
  </p:normalViewPr>
  <p:slideViewPr>
    <p:cSldViewPr>
      <p:cViewPr varScale="1">
        <p:scale>
          <a:sx n="107" d="100"/>
          <a:sy n="107" d="100"/>
        </p:scale>
        <p:origin x="750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156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llermann, Christiane" userId="ad71d5e9-8c27-4886-9d0d-7f91d24f4470" providerId="ADAL" clId="{DD2C8521-FCC5-4842-9E43-D4C3CF86393A}"/>
    <pc:docChg chg="undo custSel modSld">
      <pc:chgData name="Kellermann, Christiane" userId="ad71d5e9-8c27-4886-9d0d-7f91d24f4470" providerId="ADAL" clId="{DD2C8521-FCC5-4842-9E43-D4C3CF86393A}" dt="2025-12-03T14:38:53.439" v="267" actId="20577"/>
      <pc:docMkLst>
        <pc:docMk/>
      </pc:docMkLst>
      <pc:sldChg chg="addSp delSp modSp mod">
        <pc:chgData name="Kellermann, Christiane" userId="ad71d5e9-8c27-4886-9d0d-7f91d24f4470" providerId="ADAL" clId="{DD2C8521-FCC5-4842-9E43-D4C3CF86393A}" dt="2025-12-03T14:32:10.945" v="252"/>
        <pc:sldMkLst>
          <pc:docMk/>
          <pc:sldMk cId="1704879977" sldId="265"/>
        </pc:sldMkLst>
        <pc:spChg chg="mod">
          <ac:chgData name="Kellermann, Christiane" userId="ad71d5e9-8c27-4886-9d0d-7f91d24f4470" providerId="ADAL" clId="{DD2C8521-FCC5-4842-9E43-D4C3CF86393A}" dt="2025-12-03T14:26:33.436" v="90" actId="948"/>
          <ac:spMkLst>
            <pc:docMk/>
            <pc:sldMk cId="1704879977" sldId="265"/>
            <ac:spMk id="2" creationId="{00000000-0000-0000-0000-000000000000}"/>
          </ac:spMkLst>
        </pc:spChg>
        <pc:spChg chg="add del mod">
          <ac:chgData name="Kellermann, Christiane" userId="ad71d5e9-8c27-4886-9d0d-7f91d24f4470" providerId="ADAL" clId="{DD2C8521-FCC5-4842-9E43-D4C3CF86393A}" dt="2025-12-03T14:25:56.186" v="19"/>
          <ac:spMkLst>
            <pc:docMk/>
            <pc:sldMk cId="1704879977" sldId="265"/>
            <ac:spMk id="5" creationId="{11A23B63-F604-B31E-C649-1E10AA3E4B07}"/>
          </ac:spMkLst>
        </pc:spChg>
        <pc:spChg chg="mod">
          <ac:chgData name="Kellermann, Christiane" userId="ad71d5e9-8c27-4886-9d0d-7f91d24f4470" providerId="ADAL" clId="{DD2C8521-FCC5-4842-9E43-D4C3CF86393A}" dt="2025-12-03T14:30:59.263" v="249" actId="20577"/>
          <ac:spMkLst>
            <pc:docMk/>
            <pc:sldMk cId="1704879977" sldId="265"/>
            <ac:spMk id="6" creationId="{00000000-0000-0000-0000-000000000000}"/>
          </ac:spMkLst>
        </pc:spChg>
        <pc:spChg chg="mod">
          <ac:chgData name="Kellermann, Christiane" userId="ad71d5e9-8c27-4886-9d0d-7f91d24f4470" providerId="ADAL" clId="{DD2C8521-FCC5-4842-9E43-D4C3CF86393A}" dt="2025-12-03T14:26:03.673" v="21" actId="6549"/>
          <ac:spMkLst>
            <pc:docMk/>
            <pc:sldMk cId="1704879977" sldId="265"/>
            <ac:spMk id="9" creationId="{00000000-0000-0000-0000-000000000000}"/>
          </ac:spMkLst>
        </pc:spChg>
        <pc:spChg chg="add del mod modVis">
          <ac:chgData name="Kellermann, Christiane" userId="ad71d5e9-8c27-4886-9d0d-7f91d24f4470" providerId="ADAL" clId="{DD2C8521-FCC5-4842-9E43-D4C3CF86393A}" dt="2025-12-03T14:26:30.524" v="72"/>
          <ac:spMkLst>
            <pc:docMk/>
            <pc:sldMk cId="1704879977" sldId="265"/>
            <ac:spMk id="11" creationId="{2A00E00B-157C-BB00-3BEA-E3CB260FE0EE}"/>
          </ac:spMkLst>
        </pc:spChg>
        <pc:spChg chg="add del mod modVis">
          <ac:chgData name="Kellermann, Christiane" userId="ad71d5e9-8c27-4886-9d0d-7f91d24f4470" providerId="ADAL" clId="{DD2C8521-FCC5-4842-9E43-D4C3CF86393A}" dt="2025-12-03T14:26:33.484" v="113"/>
          <ac:spMkLst>
            <pc:docMk/>
            <pc:sldMk cId="1704879977" sldId="265"/>
            <ac:spMk id="12" creationId="{AE60907F-896E-6E4A-B20C-CF44CDA72684}"/>
          </ac:spMkLst>
        </pc:spChg>
        <pc:spChg chg="add del mod">
          <ac:chgData name="Kellermann, Christiane" userId="ad71d5e9-8c27-4886-9d0d-7f91d24f4470" providerId="ADAL" clId="{DD2C8521-FCC5-4842-9E43-D4C3CF86393A}" dt="2025-12-03T14:32:10.945" v="252"/>
          <ac:spMkLst>
            <pc:docMk/>
            <pc:sldMk cId="1704879977" sldId="265"/>
            <ac:spMk id="14" creationId="{4085B44B-69B4-A8E9-2CD2-1D07A918AB67}"/>
          </ac:spMkLst>
        </pc:spChg>
        <pc:graphicFrameChg chg="mod">
          <ac:chgData name="Kellermann, Christiane" userId="ad71d5e9-8c27-4886-9d0d-7f91d24f4470" providerId="ADAL" clId="{DD2C8521-FCC5-4842-9E43-D4C3CF86393A}" dt="2025-12-03T14:26:33.488" v="115"/>
          <ac:graphicFrameMkLst>
            <pc:docMk/>
            <pc:sldMk cId="1704879977" sldId="265"/>
            <ac:graphicFrameMk id="4" creationId="{58C60A80-3744-4A5A-92AA-12C4299D6344}"/>
          </ac:graphicFrameMkLst>
        </pc:graphicFrameChg>
        <pc:graphicFrameChg chg="add del mod">
          <ac:chgData name="Kellermann, Christiane" userId="ad71d5e9-8c27-4886-9d0d-7f91d24f4470" providerId="ADAL" clId="{DD2C8521-FCC5-4842-9E43-D4C3CF86393A}" dt="2025-12-03T14:32:07.636" v="250" actId="478"/>
          <ac:graphicFrameMkLst>
            <pc:docMk/>
            <pc:sldMk cId="1704879977" sldId="265"/>
            <ac:graphicFrameMk id="7" creationId="{EC8B2323-E4AF-6EB7-E525-DDB50A374073}"/>
          </ac:graphicFrameMkLst>
        </pc:graphicFrameChg>
        <pc:graphicFrameChg chg="add mod">
          <ac:chgData name="Kellermann, Christiane" userId="ad71d5e9-8c27-4886-9d0d-7f91d24f4470" providerId="ADAL" clId="{DD2C8521-FCC5-4842-9E43-D4C3CF86393A}" dt="2025-12-03T14:32:10.945" v="252"/>
          <ac:graphicFrameMkLst>
            <pc:docMk/>
            <pc:sldMk cId="1704879977" sldId="265"/>
            <ac:graphicFrameMk id="15" creationId="{EC8B2323-E4AF-6EB7-E525-DDB50A374073}"/>
          </ac:graphicFrameMkLst>
        </pc:graphicFrameChg>
        <pc:graphicFrameChg chg="del">
          <ac:chgData name="Kellermann, Christiane" userId="ad71d5e9-8c27-4886-9d0d-7f91d24f4470" providerId="ADAL" clId="{DD2C8521-FCC5-4842-9E43-D4C3CF86393A}" dt="2025-12-03T14:25:52.306" v="17" actId="478"/>
          <ac:graphicFrameMkLst>
            <pc:docMk/>
            <pc:sldMk cId="1704879977" sldId="265"/>
            <ac:graphicFrameMk id="24" creationId="{EC8B2323-E4AF-6EB7-E525-DDB50A374073}"/>
          </ac:graphicFrameMkLst>
        </pc:graphicFrameChg>
      </pc:sldChg>
      <pc:sldChg chg="addSp delSp modSp mod">
        <pc:chgData name="Kellermann, Christiane" userId="ad71d5e9-8c27-4886-9d0d-7f91d24f4470" providerId="ADAL" clId="{DD2C8521-FCC5-4842-9E43-D4C3CF86393A}" dt="2025-12-03T14:38:28.636" v="257" actId="6549"/>
        <pc:sldMkLst>
          <pc:docMk/>
          <pc:sldMk cId="4067277156" sldId="945"/>
        </pc:sldMkLst>
        <pc:spChg chg="mod">
          <ac:chgData name="Kellermann, Christiane" userId="ad71d5e9-8c27-4886-9d0d-7f91d24f4470" providerId="ADAL" clId="{DD2C8521-FCC5-4842-9E43-D4C3CF86393A}" dt="2025-12-03T14:38:28.636" v="257" actId="6549"/>
          <ac:spMkLst>
            <pc:docMk/>
            <pc:sldMk cId="4067277156" sldId="945"/>
            <ac:spMk id="7" creationId="{14DABBB2-F9A1-28C3-D494-D09B6E158D35}"/>
          </ac:spMkLst>
        </pc:spChg>
        <pc:spChg chg="add del mod">
          <ac:chgData name="Kellermann, Christiane" userId="ad71d5e9-8c27-4886-9d0d-7f91d24f4470" providerId="ADAL" clId="{DD2C8521-FCC5-4842-9E43-D4C3CF86393A}" dt="2025-12-03T14:38:26.850" v="255"/>
          <ac:spMkLst>
            <pc:docMk/>
            <pc:sldMk cId="4067277156" sldId="945"/>
            <ac:spMk id="8" creationId="{88165273-30C4-20F7-A49B-2739ACB92E98}"/>
          </ac:spMkLst>
        </pc:spChg>
        <pc:graphicFrameChg chg="add mod">
          <ac:chgData name="Kellermann, Christiane" userId="ad71d5e9-8c27-4886-9d0d-7f91d24f4470" providerId="ADAL" clId="{DD2C8521-FCC5-4842-9E43-D4C3CF86393A}" dt="2025-12-03T14:38:26.850" v="255"/>
          <ac:graphicFrameMkLst>
            <pc:docMk/>
            <pc:sldMk cId="4067277156" sldId="945"/>
            <ac:graphicFrameMk id="9" creationId="{F70BF7AD-F36C-49BA-9949-DE2D1B09518B}"/>
          </ac:graphicFrameMkLst>
        </pc:graphicFrameChg>
        <pc:graphicFrameChg chg="del">
          <ac:chgData name="Kellermann, Christiane" userId="ad71d5e9-8c27-4886-9d0d-7f91d24f4470" providerId="ADAL" clId="{DD2C8521-FCC5-4842-9E43-D4C3CF86393A}" dt="2025-12-03T14:38:23.321" v="253" actId="478"/>
          <ac:graphicFrameMkLst>
            <pc:docMk/>
            <pc:sldMk cId="4067277156" sldId="945"/>
            <ac:graphicFrameMk id="11" creationId="{F70BF7AD-F36C-49BA-9949-DE2D1B09518B}"/>
          </ac:graphicFrameMkLst>
        </pc:graphicFrameChg>
      </pc:sldChg>
      <pc:sldChg chg="modSp mod">
        <pc:chgData name="Kellermann, Christiane" userId="ad71d5e9-8c27-4886-9d0d-7f91d24f4470" providerId="ADAL" clId="{DD2C8521-FCC5-4842-9E43-D4C3CF86393A}" dt="2025-12-03T14:38:53.439" v="267" actId="20577"/>
        <pc:sldMkLst>
          <pc:docMk/>
          <pc:sldMk cId="2279826410" sldId="947"/>
        </pc:sldMkLst>
        <pc:spChg chg="mod">
          <ac:chgData name="Kellermann, Christiane" userId="ad71d5e9-8c27-4886-9d0d-7f91d24f4470" providerId="ADAL" clId="{DD2C8521-FCC5-4842-9E43-D4C3CF86393A}" dt="2025-12-03T14:38:53.439" v="267" actId="20577"/>
          <ac:spMkLst>
            <pc:docMk/>
            <pc:sldMk cId="2279826410" sldId="947"/>
            <ac:spMk id="2" creationId="{8D0E5F7C-6047-5F7D-8B0C-80B4CD24E83C}"/>
          </ac:spMkLst>
        </pc:spChg>
      </pc:sldChg>
      <pc:sldChg chg="addSp delSp modSp mod">
        <pc:chgData name="Kellermann, Christiane" userId="ad71d5e9-8c27-4886-9d0d-7f91d24f4470" providerId="ADAL" clId="{DD2C8521-FCC5-4842-9E43-D4C3CF86393A}" dt="2025-12-03T14:23:10.102" v="16"/>
        <pc:sldMkLst>
          <pc:docMk/>
          <pc:sldMk cId="1565721407" sldId="948"/>
        </pc:sldMkLst>
        <pc:spChg chg="add del mod">
          <ac:chgData name="Kellermann, Christiane" userId="ad71d5e9-8c27-4886-9d0d-7f91d24f4470" providerId="ADAL" clId="{DD2C8521-FCC5-4842-9E43-D4C3CF86393A}" dt="2025-12-03T14:22:13.095" v="2"/>
          <ac:spMkLst>
            <pc:docMk/>
            <pc:sldMk cId="1565721407" sldId="948"/>
            <ac:spMk id="4" creationId="{8FE6B460-1602-C5BE-9FFB-64D530F23A1F}"/>
          </ac:spMkLst>
        </pc:spChg>
        <pc:spChg chg="add del mod">
          <ac:chgData name="Kellermann, Christiane" userId="ad71d5e9-8c27-4886-9d0d-7f91d24f4470" providerId="ADAL" clId="{DD2C8521-FCC5-4842-9E43-D4C3CF86393A}" dt="2025-12-03T14:22:36.245" v="8" actId="478"/>
          <ac:spMkLst>
            <pc:docMk/>
            <pc:sldMk cId="1565721407" sldId="948"/>
            <ac:spMk id="8" creationId="{94DFCF88-FC68-8143-6B4F-913E0E26DA12}"/>
          </ac:spMkLst>
        </pc:spChg>
        <pc:spChg chg="add del mod">
          <ac:chgData name="Kellermann, Christiane" userId="ad71d5e9-8c27-4886-9d0d-7f91d24f4470" providerId="ADAL" clId="{DD2C8521-FCC5-4842-9E43-D4C3CF86393A}" dt="2025-12-03T14:22:47.633" v="11"/>
          <ac:spMkLst>
            <pc:docMk/>
            <pc:sldMk cId="1565721407" sldId="948"/>
            <ac:spMk id="12" creationId="{2EFD777A-2F55-E5DB-2898-9BE19035C040}"/>
          </ac:spMkLst>
        </pc:spChg>
        <pc:spChg chg="add del mod">
          <ac:chgData name="Kellermann, Christiane" userId="ad71d5e9-8c27-4886-9d0d-7f91d24f4470" providerId="ADAL" clId="{DD2C8521-FCC5-4842-9E43-D4C3CF86393A}" dt="2025-12-03T14:23:10.102" v="16"/>
          <ac:spMkLst>
            <pc:docMk/>
            <pc:sldMk cId="1565721407" sldId="948"/>
            <ac:spMk id="17" creationId="{D017CC4D-74BD-2592-090A-66769FEAC1D2}"/>
          </ac:spMkLst>
        </pc:spChg>
        <pc:spChg chg="mod">
          <ac:chgData name="Kellermann, Christiane" userId="ad71d5e9-8c27-4886-9d0d-7f91d24f4470" providerId="ADAL" clId="{DD2C8521-FCC5-4842-9E43-D4C3CF86393A}" dt="2025-12-03T14:22:16.988" v="4" actId="6549"/>
          <ac:spMkLst>
            <pc:docMk/>
            <pc:sldMk cId="1565721407" sldId="948"/>
            <ac:spMk id="27" creationId="{B5E68609-BECB-4637-C964-D3ECCF963098}"/>
          </ac:spMkLst>
        </pc:spChg>
        <pc:spChg chg="mod">
          <ac:chgData name="Kellermann, Christiane" userId="ad71d5e9-8c27-4886-9d0d-7f91d24f4470" providerId="ADAL" clId="{DD2C8521-FCC5-4842-9E43-D4C3CF86393A}" dt="2025-12-03T14:22:50.844" v="13" actId="6549"/>
          <ac:spMkLst>
            <pc:docMk/>
            <pc:sldMk cId="1565721407" sldId="948"/>
            <ac:spMk id="28" creationId="{628DAF3C-3ECA-16A9-C9A4-031378CA70B1}"/>
          </ac:spMkLst>
        </pc:spChg>
        <pc:graphicFrameChg chg="add del mod">
          <ac:chgData name="Kellermann, Christiane" userId="ad71d5e9-8c27-4886-9d0d-7f91d24f4470" providerId="ADAL" clId="{DD2C8521-FCC5-4842-9E43-D4C3CF86393A}" dt="2025-12-03T14:23:06.535" v="14" actId="478"/>
          <ac:graphicFrameMkLst>
            <pc:docMk/>
            <pc:sldMk cId="1565721407" sldId="948"/>
            <ac:graphicFrameMk id="5" creationId="{5EA3DE18-E7D6-4EA7-8DDD-073AD7DF28FA}"/>
          </ac:graphicFrameMkLst>
        </pc:graphicFrameChg>
        <pc:graphicFrameChg chg="add del">
          <ac:chgData name="Kellermann, Christiane" userId="ad71d5e9-8c27-4886-9d0d-7f91d24f4470" providerId="ADAL" clId="{DD2C8521-FCC5-4842-9E43-D4C3CF86393A}" dt="2025-12-03T14:22:43.760" v="9" actId="478"/>
          <ac:graphicFrameMkLst>
            <pc:docMk/>
            <pc:sldMk cId="1565721407" sldId="948"/>
            <ac:graphicFrameMk id="9" creationId="{5EA3DE18-E7D6-4EA7-8DDD-073AD7DF28FA}"/>
          </ac:graphicFrameMkLst>
        </pc:graphicFrameChg>
        <pc:graphicFrameChg chg="add mod">
          <ac:chgData name="Kellermann, Christiane" userId="ad71d5e9-8c27-4886-9d0d-7f91d24f4470" providerId="ADAL" clId="{DD2C8521-FCC5-4842-9E43-D4C3CF86393A}" dt="2025-12-03T14:22:47.633" v="11"/>
          <ac:graphicFrameMkLst>
            <pc:docMk/>
            <pc:sldMk cId="1565721407" sldId="948"/>
            <ac:graphicFrameMk id="13" creationId="{5EA3DE18-E7D6-4EA7-8DDD-073AD7DF28FA}"/>
          </ac:graphicFrameMkLst>
        </pc:graphicFrameChg>
        <pc:graphicFrameChg chg="del">
          <ac:chgData name="Kellermann, Christiane" userId="ad71d5e9-8c27-4886-9d0d-7f91d24f4470" providerId="ADAL" clId="{DD2C8521-FCC5-4842-9E43-D4C3CF86393A}" dt="2025-12-03T14:22:09.397" v="0" actId="478"/>
          <ac:graphicFrameMkLst>
            <pc:docMk/>
            <pc:sldMk cId="1565721407" sldId="948"/>
            <ac:graphicFrameMk id="16" creationId="{34C3C828-B4E4-44D7-96C9-9BA2485A9B7D}"/>
          </ac:graphicFrameMkLst>
        </pc:graphicFrameChg>
        <pc:graphicFrameChg chg="add mod">
          <ac:chgData name="Kellermann, Christiane" userId="ad71d5e9-8c27-4886-9d0d-7f91d24f4470" providerId="ADAL" clId="{DD2C8521-FCC5-4842-9E43-D4C3CF86393A}" dt="2025-12-03T14:23:10.102" v="16"/>
          <ac:graphicFrameMkLst>
            <pc:docMk/>
            <pc:sldMk cId="1565721407" sldId="948"/>
            <ac:graphicFrameMk id="20" creationId="{34C3C828-B4E4-44D7-96C9-9BA2485A9B7D}"/>
          </ac:graphicFrameMkLst>
        </pc:graphicFrameChg>
        <pc:picChg chg="add mod">
          <ac:chgData name="Kellermann, Christiane" userId="ad71d5e9-8c27-4886-9d0d-7f91d24f4470" providerId="ADAL" clId="{DD2C8521-FCC5-4842-9E43-D4C3CF86393A}" dt="2025-12-03T14:22:34.565" v="7"/>
          <ac:picMkLst>
            <pc:docMk/>
            <pc:sldMk cId="1565721407" sldId="948"/>
            <ac:picMk id="10" creationId="{068DD666-DF4F-5CE0-E454-FAAC251921EA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https://vciev.sharepoint.com/teams/TeamVolkswirtschaft785/Shared%20Documents/Abteilungsb&#252;ro/08%20Politische%20Themen/Industriepolitik/Foliensatz%20Industrieland%20D/Industrieland%202025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vciev.sharepoint.com/teams/TeamVolkswirtschaft785/Shared%20Documents/Abteilungsb&#252;ro/08%20Politische%20Themen/Industriepolitik/Foliensatz%20Industrieland%20D/Industrieland%202025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https://vciev.sharepoint.com/teams/TeamVolkswirtschaft785/Shared%20Documents/Abteilungsb&#252;ro/08%20Politische%20Themen/Industriepolitik/Foliensatz%20Industrieland%20D/Industrieland%202025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3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4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5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https://vciev.sharepoint.com/teams/TeamVolkswirtschaft785/Shared%20Documents/Abteilungsb&#252;ro/08%20Politische%20Themen/Industriepolitik/Foliensatz%20Industrieland%20D/Industrieland%202025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9577676311291967"/>
          <c:y val="0.15527713055194475"/>
          <c:w val="0.40084163597854905"/>
          <c:h val="0.6919742957627429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B55-4505-A1AE-5D750A2FE2A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B55-4505-A1AE-5D750A2FE2A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B55-4505-A1AE-5D750A2FE2A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B55-4505-A1AE-5D750A2FE2A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B55-4505-A1AE-5D750A2FE2A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B55-4505-A1AE-5D750A2FE2AA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B55-4505-A1AE-5D750A2FE2AA}"/>
              </c:ext>
            </c:extLst>
          </c:dPt>
          <c:dLbls>
            <c:dLbl>
              <c:idx val="0"/>
              <c:layout>
                <c:manualLayout>
                  <c:x val="6.5270125812022031E-2"/>
                  <c:y val="9.4404252099877128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B55-4505-A1AE-5D750A2FE2AA}"/>
                </c:ext>
              </c:extLst>
            </c:dLbl>
            <c:dLbl>
              <c:idx val="1"/>
              <c:layout>
                <c:manualLayout>
                  <c:x val="2.9865259661517436E-2"/>
                  <c:y val="4.482512522163453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919616270673589"/>
                      <c:h val="0.169924317712713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B55-4505-A1AE-5D750A2FE2AA}"/>
                </c:ext>
              </c:extLst>
            </c:dLbl>
            <c:dLbl>
              <c:idx val="2"/>
              <c:layout>
                <c:manualLayout>
                  <c:x val="3.0871005451632044E-2"/>
                  <c:y val="2.893033532093009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98010365434921"/>
                      <c:h val="0.1127369487979823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B55-4505-A1AE-5D750A2FE2AA}"/>
                </c:ext>
              </c:extLst>
            </c:dLbl>
            <c:dLbl>
              <c:idx val="3"/>
              <c:layout>
                <c:manualLayout>
                  <c:x val="-1.8915140780118991E-2"/>
                  <c:y val="2.436238763867797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192505061594774"/>
                      <c:h val="0.110727051817791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2B55-4505-A1AE-5D750A2FE2AA}"/>
                </c:ext>
              </c:extLst>
            </c:dLbl>
            <c:dLbl>
              <c:idx val="4"/>
              <c:layout>
                <c:manualLayout>
                  <c:x val="-3.6299996444104657E-2"/>
                  <c:y val="3.654358145801696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B55-4505-A1AE-5D750A2FE2AA}"/>
                </c:ext>
              </c:extLst>
            </c:dLbl>
            <c:dLbl>
              <c:idx val="5"/>
              <c:layout>
                <c:manualLayout>
                  <c:x val="-4.2337378905095389E-2"/>
                  <c:y val="3.349828300318221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B55-4505-A1AE-5D750A2FE2AA}"/>
                </c:ext>
              </c:extLst>
            </c:dLbl>
            <c:dLbl>
              <c:idx val="6"/>
              <c:layout>
                <c:manualLayout>
                  <c:x val="1.2348471631733667E-2"/>
                  <c:y val="-3.22545063822981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697466091204265"/>
                      <c:h val="0.1157822472528170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2B55-4505-A1AE-5D750A2FE2A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Arial"/>
                    <a:cs typeface="Arial"/>
                  </a:defRPr>
                </a:pPr>
                <a:endParaRPr lang="de-DE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D Anteil BIP'!$A$2:$A$8</c:f>
              <c:strCache>
                <c:ptCount val="7"/>
                <c:pt idx="0">
                  <c:v>Industrie*</c:v>
                </c:pt>
                <c:pt idx="1">
                  <c:v>sonstiges Produzierendes Gewerbe</c:v>
                </c:pt>
                <c:pt idx="2">
                  <c:v>unternehmensnahe DL</c:v>
                </c:pt>
                <c:pt idx="3">
                  <c:v>Handel, Gastgewerbe, Verkehr</c:v>
                </c:pt>
                <c:pt idx="4">
                  <c:v>Finanzierung, Vermietung, Information</c:v>
                </c:pt>
                <c:pt idx="5">
                  <c:v>Öffentliche DL</c:v>
                </c:pt>
                <c:pt idx="6">
                  <c:v>Land- und Forstwirtschaft</c:v>
                </c:pt>
              </c:strCache>
            </c:strRef>
          </c:cat>
          <c:val>
            <c:numRef>
              <c:f>'D Anteil BIP'!$S$2:$S$8</c:f>
              <c:numCache>
                <c:formatCode>0.00</c:formatCode>
                <c:ptCount val="7"/>
                <c:pt idx="0" formatCode="General">
                  <c:v>766.78700000000003</c:v>
                </c:pt>
                <c:pt idx="1">
                  <c:v>345.62499999999989</c:v>
                </c:pt>
                <c:pt idx="2" formatCode="General">
                  <c:v>473.03500000000003</c:v>
                </c:pt>
                <c:pt idx="3" formatCode="General">
                  <c:v>640.89400000000001</c:v>
                </c:pt>
                <c:pt idx="4" formatCode="General">
                  <c:v>852.10100000000011</c:v>
                </c:pt>
                <c:pt idx="5" formatCode="General">
                  <c:v>785.42600000000004</c:v>
                </c:pt>
                <c:pt idx="6" formatCode="General">
                  <c:v>35.573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B55-4505-A1AE-5D750A2FE2A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  <a:round/>
    </a:ln>
    <a:effectLst/>
  </c:spPr>
  <c:txPr>
    <a:bodyPr/>
    <a:lstStyle/>
    <a:p>
      <a:pPr>
        <a:defRPr sz="1200" b="0">
          <a:solidFill>
            <a:schemeClr val="tx2"/>
          </a:solidFill>
          <a:latin typeface="Source Sans Pro" panose="020B0503030403020204" pitchFamily="34" charset="0"/>
          <a:ea typeface="Arial"/>
          <a:cs typeface="Arial"/>
        </a:defRPr>
      </a:pPr>
      <a:endParaRPr lang="de-DE"/>
    </a:p>
  </c:txPr>
  <c:externalData r:id="rId4">
    <c:autoUpdate val="0"/>
  </c:externalData>
  <c:userShapes r:id="rId5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2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r>
              <a:rPr lang="de-DE"/>
              <a:t>BWS Industrie</a:t>
            </a:r>
            <a:br>
              <a:rPr lang="de-DE"/>
            </a:br>
            <a:r>
              <a:rPr lang="de-DE"/>
              <a:t>in Mrd. US-$</a:t>
            </a:r>
          </a:p>
        </c:rich>
      </c:tx>
      <c:layout>
        <c:manualLayout>
          <c:xMode val="edge"/>
          <c:yMode val="edge"/>
          <c:x val="0.33096049382716058"/>
          <c:y val="2.204861111111111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2"/>
              </a:solidFill>
              <a:latin typeface="Source Sans Pro" panose="020B0503030403020204" pitchFamily="34" charset="0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3.713450292397661E-2"/>
          <c:y val="0.15562805555555556"/>
          <c:w val="0.91830409356725151"/>
          <c:h val="0.71236583333333336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BIP_Ind_FuE!$B$29</c:f>
              <c:strCache>
                <c:ptCount val="1"/>
                <c:pt idx="0">
                  <c:v>EU</c:v>
                </c:pt>
              </c:strCache>
            </c:strRef>
          </c:tx>
          <c:spPr>
            <a:solidFill>
              <a:schemeClr val="accent3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BIP_Ind_FuE!$E$29</c:f>
              <c:numCache>
                <c:formatCode>_-* #,##0\ _€_-;\-* #,##0\ _€_-;_-* "-"??\ _€_-;_-@_-</c:formatCode>
                <c:ptCount val="1"/>
                <c:pt idx="0">
                  <c:v>2840.447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0D-43E2-8B78-9A78CB9A2765}"/>
            </c:ext>
          </c:extLst>
        </c:ser>
        <c:ser>
          <c:idx val="1"/>
          <c:order val="1"/>
          <c:tx>
            <c:strRef>
              <c:f>BIP_Ind_FuE!$B$28</c:f>
              <c:strCache>
                <c:ptCount val="1"/>
                <c:pt idx="0">
                  <c:v>USA</c:v>
                </c:pt>
              </c:strCache>
            </c:strRef>
          </c:tx>
          <c:spPr>
            <a:solidFill>
              <a:schemeClr val="accent2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BIP_Ind_FuE!$E$28</c:f>
              <c:numCache>
                <c:formatCode>_-* #,##0\ _€_-;\-* #,##0\ _€_-;_-* "-"??\ _€_-;_-@_-</c:formatCode>
                <c:ptCount val="1"/>
                <c:pt idx="0">
                  <c:v>2722.4631379494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0D-43E2-8B78-9A78CB9A2765}"/>
            </c:ext>
          </c:extLst>
        </c:ser>
        <c:ser>
          <c:idx val="0"/>
          <c:order val="2"/>
          <c:tx>
            <c:strRef>
              <c:f>BIP_Ind_FuE!$B$27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BIP_Ind_FuE!$E$27</c:f>
              <c:numCache>
                <c:formatCode>_-* #,##0\ _€_-;\-* #,##0\ _€_-;_-* "-"??\ _€_-;_-@_-</c:formatCode>
                <c:ptCount val="1"/>
                <c:pt idx="0">
                  <c:v>4661.44153507103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0D-43E2-8B78-9A78CB9A276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318528248"/>
        <c:axId val="1318532184"/>
      </c:barChart>
      <c:catAx>
        <c:axId val="1318528248"/>
        <c:scaling>
          <c:orientation val="minMax"/>
        </c:scaling>
        <c:delete val="1"/>
        <c:axPos val="b"/>
        <c:majorTickMark val="out"/>
        <c:minorTickMark val="none"/>
        <c:tickLblPos val="nextTo"/>
        <c:crossAx val="1318532184"/>
        <c:crosses val="autoZero"/>
        <c:auto val="1"/>
        <c:lblAlgn val="ctr"/>
        <c:lblOffset val="100"/>
        <c:noMultiLvlLbl val="0"/>
      </c:catAx>
      <c:valAx>
        <c:axId val="1318532184"/>
        <c:scaling>
          <c:orientation val="minMax"/>
          <c:max val="7000"/>
        </c:scaling>
        <c:delete val="1"/>
        <c:axPos val="l"/>
        <c:numFmt formatCode="_-* #,##0\ _€_-;\-* #,##0\ _€_-;_-* &quot;-&quot;??\ _€_-;_-@_-" sourceLinked="1"/>
        <c:majorTickMark val="out"/>
        <c:minorTickMark val="none"/>
        <c:tickLblPos val="nextTo"/>
        <c:crossAx val="1318528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012418524410791"/>
          <c:y val="0.89409667541557303"/>
          <c:w val="0.58270133113156253"/>
          <c:h val="7.81255468066491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400" b="0" i="0" u="none" strike="noStrike" kern="1200" baseline="0">
              <a:solidFill>
                <a:schemeClr val="tx2"/>
              </a:solidFill>
              <a:latin typeface="Source Sans Pro" panose="020B0503030403020204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400" b="0">
          <a:solidFill>
            <a:schemeClr val="tx2"/>
          </a:solidFill>
          <a:latin typeface="Source Sans Pro" panose="020B0503030403020204" pitchFamily="34" charset="0"/>
        </a:defRPr>
      </a:pPr>
      <a:endParaRPr lang="de-DE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9.2493087193532247E-2"/>
          <c:y val="2.841885613493042E-2"/>
          <c:w val="0.88927764464224579"/>
          <c:h val="0.82381677566197464"/>
        </c:manualLayout>
      </c:layout>
      <c:areaChart>
        <c:grouping val="standard"/>
        <c:varyColors val="0"/>
        <c:ser>
          <c:idx val="0"/>
          <c:order val="0"/>
          <c:spPr>
            <a:solidFill>
              <a:schemeClr val="accent1"/>
            </a:solidFill>
            <a:ln w="60325"/>
          </c:spPr>
          <c:dLbls>
            <c:dLbl>
              <c:idx val="0"/>
              <c:layout>
                <c:manualLayout>
                  <c:x val="4.9045936611720672E-2"/>
                  <c:y val="-0.383133554561077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1C9-4C02-A41F-216816ABF3F0}"/>
                </c:ext>
              </c:extLst>
            </c:dLbl>
            <c:dLbl>
              <c:idx val="13"/>
              <c:layout>
                <c:manualLayout>
                  <c:x val="0.39654779468402385"/>
                  <c:y val="-0.46961205511958476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6.21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11C9-4C02-A41F-216816ABF3F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D Beschäftigung'!$A$14:$A$38</c:f>
              <c:strCach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strCache>
            </c:strRef>
          </c:cat>
          <c:val>
            <c:numRef>
              <c:f>'D Beschäftigung'!$B$14:$B$38</c:f>
              <c:numCache>
                <c:formatCode>#,##0</c:formatCode>
                <c:ptCount val="25"/>
                <c:pt idx="0">
                  <c:v>6256.7169999999996</c:v>
                </c:pt>
                <c:pt idx="1">
                  <c:v>6284.6949999999997</c:v>
                </c:pt>
                <c:pt idx="2">
                  <c:v>6108.634</c:v>
                </c:pt>
                <c:pt idx="3">
                  <c:v>6036.0590000000002</c:v>
                </c:pt>
                <c:pt idx="4">
                  <c:v>5923.5730000000003</c:v>
                </c:pt>
                <c:pt idx="5">
                  <c:v>5841.549</c:v>
                </c:pt>
                <c:pt idx="6">
                  <c:v>5811.576</c:v>
                </c:pt>
                <c:pt idx="7">
                  <c:v>5988.4830000000002</c:v>
                </c:pt>
                <c:pt idx="8">
                  <c:v>5925.95</c:v>
                </c:pt>
                <c:pt idx="9">
                  <c:v>5657.9889999999996</c:v>
                </c:pt>
                <c:pt idx="10">
                  <c:v>5641.9179999999997</c:v>
                </c:pt>
                <c:pt idx="11">
                  <c:v>5832.37</c:v>
                </c:pt>
                <c:pt idx="12">
                  <c:v>5923.0609999999997</c:v>
                </c:pt>
                <c:pt idx="13">
                  <c:v>5948.7640000000001</c:v>
                </c:pt>
                <c:pt idx="14">
                  <c:v>6018.48</c:v>
                </c:pt>
                <c:pt idx="15">
                  <c:v>6068.3630000000003</c:v>
                </c:pt>
                <c:pt idx="16">
                  <c:v>6118.049</c:v>
                </c:pt>
                <c:pt idx="17" formatCode="General">
                  <c:v>6226.71</c:v>
                </c:pt>
                <c:pt idx="18" formatCode="General">
                  <c:v>6383.0460000000003</c:v>
                </c:pt>
                <c:pt idx="19" formatCode="General">
                  <c:v>6399.357</c:v>
                </c:pt>
                <c:pt idx="20" formatCode="General">
                  <c:v>6211.6189999999997</c:v>
                </c:pt>
                <c:pt idx="21" formatCode="General">
                  <c:v>6197.2910000000002</c:v>
                </c:pt>
                <c:pt idx="22" formatCode="General">
                  <c:v>6251.6779999999999</c:v>
                </c:pt>
                <c:pt idx="23" formatCode="General">
                  <c:v>6277.4009999999998</c:v>
                </c:pt>
                <c:pt idx="24" formatCode="General">
                  <c:v>6215.662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1C9-4C02-A41F-216816ABF3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18184864"/>
        <c:axId val="818187608"/>
      </c:areaChart>
      <c:catAx>
        <c:axId val="818184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818187608"/>
        <c:crosses val="autoZero"/>
        <c:auto val="1"/>
        <c:lblAlgn val="ctr"/>
        <c:lblOffset val="100"/>
        <c:noMultiLvlLbl val="0"/>
      </c:catAx>
      <c:valAx>
        <c:axId val="818187608"/>
        <c:scaling>
          <c:orientation val="minMax"/>
          <c:min val="5000"/>
        </c:scaling>
        <c:delete val="0"/>
        <c:axPos val="l"/>
        <c:numFmt formatCode="#,##0" sourceLinked="1"/>
        <c:majorTickMark val="out"/>
        <c:minorTickMark val="none"/>
        <c:tickLblPos val="nextTo"/>
        <c:crossAx val="818184864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600">
          <a:solidFill>
            <a:schemeClr val="tx2"/>
          </a:solidFill>
          <a:latin typeface="Source Sans Pro" panose="020B0503030403020204" pitchFamily="34" charset="0"/>
          <a:ea typeface="Arial"/>
          <a:cs typeface="Arial"/>
        </a:defRPr>
      </a:pPr>
      <a:endParaRPr lang="de-DE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4222434032585336"/>
          <c:y val="5.2501089417705373E-3"/>
          <c:w val="0.57617269539089289"/>
          <c:h val="0.990407789441830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431-4D63-BFCF-126E7B19388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431-4D63-BFCF-126E7B19388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431-4D63-BFCF-126E7B19388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431-4D63-BFCF-126E7B19388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431-4D63-BFCF-126E7B19388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E431-4D63-BFCF-126E7B193888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E431-4D63-BFCF-126E7B193888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E431-4D63-BFCF-126E7B19388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Arial"/>
                    <a:cs typeface="Arial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D Arbeitnehmerentgelte'!$A$19:$A$23</c:f>
              <c:strCache>
                <c:ptCount val="5"/>
                <c:pt idx="0">
                  <c:v>Handel, Verkehr, Gastgewerbe</c:v>
                </c:pt>
                <c:pt idx="1">
                  <c:v>Baugewerbe</c:v>
                </c:pt>
                <c:pt idx="2">
                  <c:v>Gesamtwirtschaft</c:v>
                </c:pt>
                <c:pt idx="3">
                  <c:v>Industrie</c:v>
                </c:pt>
                <c:pt idx="4">
                  <c:v>Chemie- und Pharmaindustrie</c:v>
                </c:pt>
              </c:strCache>
            </c:strRef>
          </c:cat>
          <c:val>
            <c:numRef>
              <c:f>'D Arbeitnehmerentgelte'!$F$19:$F$23</c:f>
              <c:numCache>
                <c:formatCode>General</c:formatCode>
                <c:ptCount val="5"/>
                <c:pt idx="0">
                  <c:v>43540</c:v>
                </c:pt>
                <c:pt idx="1">
                  <c:v>50780</c:v>
                </c:pt>
                <c:pt idx="2">
                  <c:v>55625</c:v>
                </c:pt>
                <c:pt idx="3">
                  <c:v>70808</c:v>
                </c:pt>
                <c:pt idx="4">
                  <c:v>707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431-4D63-BFCF-126E7B19388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"/>
        <c:axId val="715443056"/>
        <c:axId val="715443448"/>
      </c:barChart>
      <c:catAx>
        <c:axId val="71544305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Source Sans Pro" panose="020B0503030403020204" pitchFamily="34" charset="0"/>
                <a:ea typeface="Arial"/>
                <a:cs typeface="Arial"/>
              </a:defRPr>
            </a:pPr>
            <a:endParaRPr lang="de-DE"/>
          </a:p>
        </c:txPr>
        <c:crossAx val="715443448"/>
        <c:crosses val="autoZero"/>
        <c:auto val="1"/>
        <c:lblAlgn val="ctr"/>
        <c:lblOffset val="100"/>
        <c:noMultiLvlLbl val="0"/>
      </c:catAx>
      <c:valAx>
        <c:axId val="715443448"/>
        <c:scaling>
          <c:orientation val="minMax"/>
          <c:max val="90000"/>
        </c:scaling>
        <c:delete val="1"/>
        <c:axPos val="b"/>
        <c:numFmt formatCode="General" sourceLinked="1"/>
        <c:majorTickMark val="out"/>
        <c:minorTickMark val="none"/>
        <c:tickLblPos val="nextTo"/>
        <c:crossAx val="71544305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  <a:round/>
    </a:ln>
    <a:effectLst/>
  </c:spPr>
  <c:txPr>
    <a:bodyPr/>
    <a:lstStyle/>
    <a:p>
      <a:pPr>
        <a:defRPr sz="1400">
          <a:solidFill>
            <a:schemeClr val="tx2"/>
          </a:solidFill>
          <a:latin typeface="Source Sans Pro" panose="020B0503030403020204" pitchFamily="34" charset="0"/>
          <a:ea typeface="Arial"/>
          <a:cs typeface="Arial"/>
        </a:defRPr>
      </a:pPr>
      <a:endParaRPr lang="de-DE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'D Warenexporte'!$H$2</c:f>
              <c:strCache>
                <c:ptCount val="1"/>
                <c:pt idx="0">
                  <c:v>AH-Bilanz der Industri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'D Warenexporte'!$H$5:$H$15</c:f>
              <c:numCache>
                <c:formatCode>_-* #,##0\ _€_-;\-* #,##0\ _€_-;_-* "-"??\ _€_-;_-@_-</c:formatCode>
                <c:ptCount val="11"/>
                <c:pt idx="0">
                  <c:v>355.65072655</c:v>
                </c:pt>
                <c:pt idx="1">
                  <c:v>369.72828464000003</c:v>
                </c:pt>
                <c:pt idx="2">
                  <c:v>411.04160230999997</c:v>
                </c:pt>
                <c:pt idx="3">
                  <c:v>422.73709474999998</c:v>
                </c:pt>
                <c:pt idx="4">
                  <c:v>434.30498173999996</c:v>
                </c:pt>
                <c:pt idx="5">
                  <c:v>437.41785136999999</c:v>
                </c:pt>
                <c:pt idx="6">
                  <c:v>436.60299526</c:v>
                </c:pt>
                <c:pt idx="7">
                  <c:v>397.70782024999994</c:v>
                </c:pt>
                <c:pt idx="8">
                  <c:v>416.24342749999994</c:v>
                </c:pt>
                <c:pt idx="9">
                  <c:v>424.20009262999997</c:v>
                </c:pt>
                <c:pt idx="10">
                  <c:v>492.53152139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22-4B87-99B6-410E7D6587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39416000"/>
        <c:axId val="1039410960"/>
      </c:barChart>
      <c:lineChart>
        <c:grouping val="standard"/>
        <c:varyColors val="0"/>
        <c:ser>
          <c:idx val="0"/>
          <c:order val="0"/>
          <c:tx>
            <c:strRef>
              <c:f>'D Warenexporte'!$E$2</c:f>
              <c:strCache>
                <c:ptCount val="1"/>
                <c:pt idx="0">
                  <c:v>Exporte der Industri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D Warenexporte'!$B$5:$B$15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'D Warenexporte'!$E$5:$E$15</c:f>
              <c:numCache>
                <c:formatCode>_-* #,##0\ _€_-;\-* #,##0\ _€_-;_-* "-"??\ _€_-;_-@_-</c:formatCode>
                <c:ptCount val="11"/>
                <c:pt idx="0">
                  <c:v>749.99054862000003</c:v>
                </c:pt>
                <c:pt idx="1">
                  <c:v>775.19970350000006</c:v>
                </c:pt>
                <c:pt idx="2">
                  <c:v>824.03317763999996</c:v>
                </c:pt>
                <c:pt idx="3">
                  <c:v>825.83885943999996</c:v>
                </c:pt>
                <c:pt idx="4">
                  <c:v>869.31345023999995</c:v>
                </c:pt>
                <c:pt idx="5">
                  <c:v>930.53396361</c:v>
                </c:pt>
                <c:pt idx="6">
                  <c:v>931.16434697</c:v>
                </c:pt>
                <c:pt idx="7">
                  <c:v>843.91896485999996</c:v>
                </c:pt>
                <c:pt idx="8">
                  <c:v>945.35596171999998</c:v>
                </c:pt>
                <c:pt idx="9">
                  <c:v>1065.6315105799999</c:v>
                </c:pt>
                <c:pt idx="10">
                  <c:v>1094.18179172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322-4B87-99B6-410E7D658746}"/>
            </c:ext>
          </c:extLst>
        </c:ser>
        <c:ser>
          <c:idx val="1"/>
          <c:order val="1"/>
          <c:tx>
            <c:strRef>
              <c:f>'D Warenexporte'!$G$2</c:f>
              <c:strCache>
                <c:ptCount val="1"/>
                <c:pt idx="0">
                  <c:v>Importe der Industri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D Warenexporte'!$B$5:$B$15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'D Warenexporte'!$G$5:$G$15</c:f>
              <c:numCache>
                <c:formatCode>_-* #,##0\ _€_-;\-* #,##0\ _€_-;_-* "-"??\ _€_-;_-@_-</c:formatCode>
                <c:ptCount val="11"/>
                <c:pt idx="0">
                  <c:v>394.33982207000003</c:v>
                </c:pt>
                <c:pt idx="1">
                  <c:v>405.47141886000003</c:v>
                </c:pt>
                <c:pt idx="2">
                  <c:v>412.99157532999999</c:v>
                </c:pt>
                <c:pt idx="3">
                  <c:v>403.10176468999998</c:v>
                </c:pt>
                <c:pt idx="4">
                  <c:v>435.00846849999999</c:v>
                </c:pt>
                <c:pt idx="5">
                  <c:v>493.11611224000001</c:v>
                </c:pt>
                <c:pt idx="6">
                  <c:v>494.56135171</c:v>
                </c:pt>
                <c:pt idx="7">
                  <c:v>446.21114461000002</c:v>
                </c:pt>
                <c:pt idx="8">
                  <c:v>529.11253422000004</c:v>
                </c:pt>
                <c:pt idx="9">
                  <c:v>641.43141794999997</c:v>
                </c:pt>
                <c:pt idx="10">
                  <c:v>601.65027033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322-4B87-99B6-410E7D6587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9416000"/>
        <c:axId val="1039410960"/>
      </c:lineChart>
      <c:catAx>
        <c:axId val="103941600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endParaRPr lang="de-DE"/>
          </a:p>
        </c:txPr>
        <c:crossAx val="1039410960"/>
        <c:crosses val="autoZero"/>
        <c:auto val="1"/>
        <c:lblAlgn val="ctr"/>
        <c:lblOffset val="100"/>
        <c:noMultiLvlLbl val="0"/>
      </c:catAx>
      <c:valAx>
        <c:axId val="1039410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\ _€_-;\-* #,##0\ _€_-;_-* &quot;-&quot;??\ _€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endParaRPr lang="de-DE"/>
          </a:p>
        </c:txPr>
        <c:crossAx val="1039416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2"/>
              </a:solidFill>
              <a:latin typeface="Source Sans Pro" panose="020B0503030403020204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chemeClr val="tx2"/>
          </a:solidFill>
          <a:latin typeface="Source Sans Pro" panose="020B0503030403020204" pitchFamily="34" charset="0"/>
        </a:defRPr>
      </a:pPr>
      <a:endParaRPr lang="de-DE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0957065629326165E-2"/>
          <c:y val="4.3369708454492978E-2"/>
          <c:w val="0.68423881382368967"/>
          <c:h val="0.85476906154365562"/>
        </c:manualLayout>
      </c:layout>
      <c:lineChart>
        <c:grouping val="standard"/>
        <c:varyColors val="0"/>
        <c:ser>
          <c:idx val="0"/>
          <c:order val="0"/>
          <c:tx>
            <c:strRef>
              <c:f>'Übersicht Rankings'!$A$2</c:f>
              <c:strCache>
                <c:ptCount val="1"/>
                <c:pt idx="0">
                  <c:v>Gesamtranking </c:v>
                </c:pt>
              </c:strCache>
            </c:strRef>
          </c:tx>
          <c:spPr>
            <a:ln w="476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76A-422D-9A55-2110C427B2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Übersicht Rankings'!$B$1:$G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'Übersicht Rankings'!$B$2:$G$2</c:f>
              <c:numCache>
                <c:formatCode>General</c:formatCode>
                <c:ptCount val="6"/>
                <c:pt idx="0">
                  <c:v>17</c:v>
                </c:pt>
                <c:pt idx="1">
                  <c:v>15</c:v>
                </c:pt>
                <c:pt idx="2">
                  <c:v>15</c:v>
                </c:pt>
                <c:pt idx="3">
                  <c:v>22</c:v>
                </c:pt>
                <c:pt idx="4">
                  <c:v>24</c:v>
                </c:pt>
                <c:pt idx="5">
                  <c:v>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6A-422D-9A55-2110C427B2FB}"/>
            </c:ext>
          </c:extLst>
        </c:ser>
        <c:ser>
          <c:idx val="1"/>
          <c:order val="1"/>
          <c:tx>
            <c:strRef>
              <c:f>'Übersicht Rankings'!$A$3</c:f>
              <c:strCache>
                <c:ptCount val="1"/>
                <c:pt idx="0">
                  <c:v>Wirtschaftliche Performanc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76A-422D-9A55-2110C427B2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Übersicht Rankings'!$B$1:$G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'Übersicht Rankings'!$B$3:$G$3</c:f>
              <c:numCache>
                <c:formatCode>General</c:formatCode>
                <c:ptCount val="6"/>
                <c:pt idx="0">
                  <c:v>5</c:v>
                </c:pt>
                <c:pt idx="1">
                  <c:v>3</c:v>
                </c:pt>
                <c:pt idx="2">
                  <c:v>5</c:v>
                </c:pt>
                <c:pt idx="3">
                  <c:v>12</c:v>
                </c:pt>
                <c:pt idx="4">
                  <c:v>13</c:v>
                </c:pt>
                <c:pt idx="5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76A-422D-9A55-2110C427B2FB}"/>
            </c:ext>
          </c:extLst>
        </c:ser>
        <c:ser>
          <c:idx val="4"/>
          <c:order val="2"/>
          <c:tx>
            <c:strRef>
              <c:f>'Übersicht Rankings'!$A$6</c:f>
              <c:strCache>
                <c:ptCount val="1"/>
                <c:pt idx="0">
                  <c:v>Infrastruktur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76A-422D-9A55-2110C427B2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Übersicht Rankings'!$B$1:$G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'Übersicht Rankings'!$B$6:$G$6</c:f>
              <c:numCache>
                <c:formatCode>General</c:formatCode>
                <c:ptCount val="6"/>
                <c:pt idx="0">
                  <c:v>11</c:v>
                </c:pt>
                <c:pt idx="1">
                  <c:v>10</c:v>
                </c:pt>
                <c:pt idx="2">
                  <c:v>9</c:v>
                </c:pt>
                <c:pt idx="3">
                  <c:v>14</c:v>
                </c:pt>
                <c:pt idx="4">
                  <c:v>20</c:v>
                </c:pt>
                <c:pt idx="5">
                  <c:v>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6A-422D-9A55-2110C427B2FB}"/>
            </c:ext>
          </c:extLst>
        </c:ser>
        <c:ser>
          <c:idx val="2"/>
          <c:order val="3"/>
          <c:tx>
            <c:strRef>
              <c:f>'Übersicht Rankings'!$A$4</c:f>
              <c:strCache>
                <c:ptCount val="1"/>
                <c:pt idx="0">
                  <c:v>Effizienz der öffentlichen Verwaltun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76A-422D-9A55-2110C427B2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Übersicht Rankings'!$B$1:$G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'Übersicht Rankings'!$B$4:$G$4</c:f>
              <c:numCache>
                <c:formatCode>General</c:formatCode>
                <c:ptCount val="6"/>
                <c:pt idx="0">
                  <c:v>24</c:v>
                </c:pt>
                <c:pt idx="1">
                  <c:v>23</c:v>
                </c:pt>
                <c:pt idx="2">
                  <c:v>21</c:v>
                </c:pt>
                <c:pt idx="3">
                  <c:v>27</c:v>
                </c:pt>
                <c:pt idx="4">
                  <c:v>32</c:v>
                </c:pt>
                <c:pt idx="5">
                  <c:v>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376A-422D-9A55-2110C427B2FB}"/>
            </c:ext>
          </c:extLst>
        </c:ser>
        <c:ser>
          <c:idx val="3"/>
          <c:order val="4"/>
          <c:tx>
            <c:strRef>
              <c:f>'Übersicht Rankings'!$A$5</c:f>
              <c:strCache>
                <c:ptCount val="1"/>
                <c:pt idx="0">
                  <c:v>Effizenz der Unternehmen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76A-422D-9A55-2110C427B2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Übersicht Rankings'!$B$1:$G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'Übersicht Rankings'!$B$5:$G$5</c:f>
              <c:numCache>
                <c:formatCode>General</c:formatCode>
                <c:ptCount val="6"/>
                <c:pt idx="0">
                  <c:v>25</c:v>
                </c:pt>
                <c:pt idx="1">
                  <c:v>23</c:v>
                </c:pt>
                <c:pt idx="2">
                  <c:v>21</c:v>
                </c:pt>
                <c:pt idx="3">
                  <c:v>29</c:v>
                </c:pt>
                <c:pt idx="4">
                  <c:v>35</c:v>
                </c:pt>
                <c:pt idx="5">
                  <c:v>29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9-376A-422D-9A55-2110C427B2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20915640"/>
        <c:axId val="1220916720"/>
        <c:extLst/>
      </c:lineChart>
      <c:catAx>
        <c:axId val="12209156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endParaRPr lang="de-DE"/>
          </a:p>
        </c:txPr>
        <c:crossAx val="1220916720"/>
        <c:crosses val="autoZero"/>
        <c:auto val="1"/>
        <c:lblAlgn val="ctr"/>
        <c:lblOffset val="100"/>
        <c:noMultiLvlLbl val="0"/>
      </c:catAx>
      <c:valAx>
        <c:axId val="1220916720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endParaRPr lang="de-DE"/>
          </a:p>
        </c:txPr>
        <c:crossAx val="1220915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3992347547465653"/>
          <c:y val="0.12031001730164895"/>
          <c:w val="0.24708951153833045"/>
          <c:h val="0.849066064051410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2"/>
              </a:solidFill>
              <a:latin typeface="Source Sans Pro" panose="020B0503030403020204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 b="0">
          <a:solidFill>
            <a:schemeClr val="tx2"/>
          </a:solidFill>
          <a:latin typeface="Source Sans Pro" panose="020B0503030403020204" pitchFamily="34" charset="0"/>
        </a:defRPr>
      </a:pPr>
      <a:endParaRPr lang="de-DE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7205555197496648E-3"/>
          <c:y val="9.1358953645042408E-3"/>
          <c:w val="0.98688527459290554"/>
          <c:h val="0.85116595365918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 Industrie BIP'!$AK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2A-49DC-B181-66A19681EA0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2A-49DC-B181-66A19681EA0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882A-49DC-B181-66A19681EA0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82A-49DC-B181-66A19681EA05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I Industrie BIP'!$B$2:$B$8</c:f>
              <c:strCache>
                <c:ptCount val="7"/>
                <c:pt idx="0">
                  <c:v>Japan*</c:v>
                </c:pt>
                <c:pt idx="1">
                  <c:v>Deutschland</c:v>
                </c:pt>
                <c:pt idx="2">
                  <c:v>Italien</c:v>
                </c:pt>
                <c:pt idx="3">
                  <c:v>EU</c:v>
                </c:pt>
                <c:pt idx="4">
                  <c:v>USA*</c:v>
                </c:pt>
                <c:pt idx="5">
                  <c:v>Frankreich</c:v>
                </c:pt>
                <c:pt idx="6">
                  <c:v>UK</c:v>
                </c:pt>
              </c:strCache>
            </c:strRef>
          </c:cat>
          <c:val>
            <c:numRef>
              <c:f>'I Industrie BIP'!$AK$2:$AK$8</c:f>
              <c:numCache>
                <c:formatCode>0.0</c:formatCode>
                <c:ptCount val="7"/>
                <c:pt idx="0">
                  <c:v>20.723537095893199</c:v>
                </c:pt>
                <c:pt idx="1">
                  <c:v>19.6524593846557</c:v>
                </c:pt>
                <c:pt idx="2">
                  <c:v>16.288776138144499</c:v>
                </c:pt>
                <c:pt idx="3">
                  <c:v>15.661924337130699</c:v>
                </c:pt>
                <c:pt idx="4">
                  <c:v>11.1053399602167</c:v>
                </c:pt>
                <c:pt idx="5">
                  <c:v>10.6978681357821</c:v>
                </c:pt>
                <c:pt idx="6">
                  <c:v>8.88933276174967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82A-49DC-B181-66A19681EA0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"/>
        <c:axId val="531279032"/>
        <c:axId val="531277856"/>
      </c:barChart>
      <c:catAx>
        <c:axId val="5312790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Source Sans Pro" panose="020B0503030403020204" pitchFamily="34" charset="0"/>
                <a:ea typeface="Arial"/>
                <a:cs typeface="Arial"/>
              </a:defRPr>
            </a:pPr>
            <a:endParaRPr lang="de-DE"/>
          </a:p>
        </c:txPr>
        <c:crossAx val="531277856"/>
        <c:crosses val="autoZero"/>
        <c:auto val="1"/>
        <c:lblAlgn val="ctr"/>
        <c:lblOffset val="100"/>
        <c:noMultiLvlLbl val="0"/>
      </c:catAx>
      <c:valAx>
        <c:axId val="531277856"/>
        <c:scaling>
          <c:orientation val="minMax"/>
          <c:min val="5"/>
        </c:scaling>
        <c:delete val="1"/>
        <c:axPos val="l"/>
        <c:numFmt formatCode="0.0" sourceLinked="1"/>
        <c:majorTickMark val="out"/>
        <c:minorTickMark val="none"/>
        <c:tickLblPos val="none"/>
        <c:crossAx val="531279032"/>
        <c:crosses val="autoZero"/>
        <c:crossBetween val="between"/>
        <c:majorUnit val="5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25400" cap="flat" cmpd="sng" algn="ctr">
      <a:noFill/>
      <a:prstDash val="solid"/>
      <a:round/>
    </a:ln>
    <a:effectLst/>
  </c:spPr>
  <c:txPr>
    <a:bodyPr rot="-1500000"/>
    <a:lstStyle/>
    <a:p>
      <a:pPr>
        <a:defRPr sz="1400" b="0">
          <a:solidFill>
            <a:schemeClr val="tx2"/>
          </a:solidFill>
          <a:latin typeface="Source Sans Pro" panose="020B0503030403020204" pitchFamily="34" charset="0"/>
          <a:ea typeface="Arial"/>
          <a:cs typeface="Arial"/>
        </a:defRPr>
      </a:pPr>
      <a:endParaRPr lang="de-DE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I Industrie BIP'!$B$2</c:f>
              <c:strCache>
                <c:ptCount val="1"/>
                <c:pt idx="0">
                  <c:v>Japan*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I Industrie BIP'!$C$1:$AK$1</c:f>
              <c:strCach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strCache>
            </c:strRef>
          </c:cat>
          <c:val>
            <c:numRef>
              <c:f>'I Industrie BIP'!$C$2:$AK$2</c:f>
              <c:numCache>
                <c:formatCode>0.0</c:formatCode>
                <c:ptCount val="25"/>
                <c:pt idx="0">
                  <c:v>22.440515313982701</c:v>
                </c:pt>
                <c:pt idx="1">
                  <c:v>21.243991510258901</c:v>
                </c:pt>
                <c:pt idx="2">
                  <c:v>20.7288076931736</c:v>
                </c:pt>
                <c:pt idx="3">
                  <c:v>20.897632315297201</c:v>
                </c:pt>
                <c:pt idx="4">
                  <c:v>21.081049386126001</c:v>
                </c:pt>
                <c:pt idx="5">
                  <c:v>21.325849031350199</c:v>
                </c:pt>
                <c:pt idx="6">
                  <c:v>21.3570281806787</c:v>
                </c:pt>
                <c:pt idx="7">
                  <c:v>21.829428962658699</c:v>
                </c:pt>
                <c:pt idx="8">
                  <c:v>21.253089133800898</c:v>
                </c:pt>
                <c:pt idx="9">
                  <c:v>19.027849793613701</c:v>
                </c:pt>
                <c:pt idx="10">
                  <c:v>20.768600132707601</c:v>
                </c:pt>
                <c:pt idx="11">
                  <c:v>19.639085618898701</c:v>
                </c:pt>
                <c:pt idx="12">
                  <c:v>19.7789303849347</c:v>
                </c:pt>
                <c:pt idx="13">
                  <c:v>19.457796444412399</c:v>
                </c:pt>
                <c:pt idx="14">
                  <c:v>19.752766401227099</c:v>
                </c:pt>
                <c:pt idx="15">
                  <c:v>20.583219288208898</c:v>
                </c:pt>
                <c:pt idx="16">
                  <c:v>20.360933505427699</c:v>
                </c:pt>
                <c:pt idx="17">
                  <c:v>20.529015979203901</c:v>
                </c:pt>
                <c:pt idx="18">
                  <c:v>20.7333571758858</c:v>
                </c:pt>
                <c:pt idx="19">
                  <c:v>20.331798201592999</c:v>
                </c:pt>
                <c:pt idx="20">
                  <c:v>20.132523101957499</c:v>
                </c:pt>
                <c:pt idx="21">
                  <c:v>20.937013012328801</c:v>
                </c:pt>
                <c:pt idx="22">
                  <c:v>20.023575848109701</c:v>
                </c:pt>
                <c:pt idx="23">
                  <c:v>20.723537095893199</c:v>
                </c:pt>
                <c:pt idx="24">
                  <c:v>20.723537095893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A9A-4AD7-961E-CF5792A59164}"/>
            </c:ext>
          </c:extLst>
        </c:ser>
        <c:ser>
          <c:idx val="1"/>
          <c:order val="1"/>
          <c:tx>
            <c:strRef>
              <c:f>'I Industrie BIP'!$B$3</c:f>
              <c:strCache>
                <c:ptCount val="1"/>
                <c:pt idx="0">
                  <c:v>Deutschlan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A29-4060-ADCF-5A86DF686F39}"/>
                </c:ext>
              </c:extLst>
            </c:dLbl>
            <c:dLbl>
              <c:idx val="1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A29-4060-ADCF-5A86DF686F39}"/>
                </c:ext>
              </c:extLst>
            </c:dLbl>
            <c:dLbl>
              <c:idx val="2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A29-4060-ADCF-5A86DF686F3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 Industrie BIP'!$C$1:$AK$1</c:f>
              <c:strCach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strCache>
            </c:strRef>
          </c:cat>
          <c:val>
            <c:numRef>
              <c:f>'I Industrie BIP'!$C$3:$AK$3</c:f>
              <c:numCache>
                <c:formatCode>0.0</c:formatCode>
                <c:ptCount val="25"/>
                <c:pt idx="0">
                  <c:v>22.554468565676299</c:v>
                </c:pt>
                <c:pt idx="1">
                  <c:v>22.300884597743899</c:v>
                </c:pt>
                <c:pt idx="2">
                  <c:v>21.6133348839322</c:v>
                </c:pt>
                <c:pt idx="3">
                  <c:v>21.7344179087893</c:v>
                </c:pt>
                <c:pt idx="4">
                  <c:v>21.932347583417599</c:v>
                </c:pt>
                <c:pt idx="5">
                  <c:v>21.9446527276294</c:v>
                </c:pt>
                <c:pt idx="6">
                  <c:v>22.585198471853499</c:v>
                </c:pt>
                <c:pt idx="7">
                  <c:v>22.934392998685698</c:v>
                </c:pt>
                <c:pt idx="8">
                  <c:v>22.0756237137448</c:v>
                </c:pt>
                <c:pt idx="9">
                  <c:v>19.4606692480512</c:v>
                </c:pt>
                <c:pt idx="10">
                  <c:v>21.7071412772709</c:v>
                </c:pt>
                <c:pt idx="11">
                  <c:v>22.558953998490502</c:v>
                </c:pt>
                <c:pt idx="12">
                  <c:v>22.465233795202899</c:v>
                </c:pt>
                <c:pt idx="13">
                  <c:v>22.168794768959501</c:v>
                </c:pt>
                <c:pt idx="14">
                  <c:v>22.552652461270899</c:v>
                </c:pt>
                <c:pt idx="15">
                  <c:v>22.594485266196099</c:v>
                </c:pt>
                <c:pt idx="16">
                  <c:v>22.891744472399001</c:v>
                </c:pt>
                <c:pt idx="17">
                  <c:v>22.617078241720701</c:v>
                </c:pt>
                <c:pt idx="18">
                  <c:v>22.228556073279002</c:v>
                </c:pt>
                <c:pt idx="19">
                  <c:v>21.671599763616499</c:v>
                </c:pt>
                <c:pt idx="20">
                  <c:v>20.745970389774499</c:v>
                </c:pt>
                <c:pt idx="21">
                  <c:v>20.9041424249972</c:v>
                </c:pt>
                <c:pt idx="22">
                  <c:v>20.282293081158699</c:v>
                </c:pt>
                <c:pt idx="23">
                  <c:v>20.1119435602617</c:v>
                </c:pt>
                <c:pt idx="24">
                  <c:v>19.65245938465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A9A-4AD7-961E-CF5792A59164}"/>
            </c:ext>
          </c:extLst>
        </c:ser>
        <c:ser>
          <c:idx val="2"/>
          <c:order val="2"/>
          <c:tx>
            <c:strRef>
              <c:f>'I Industrie BIP'!$B$4</c:f>
              <c:strCache>
                <c:ptCount val="1"/>
                <c:pt idx="0">
                  <c:v>Italien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I Industrie BIP'!$C$1:$AK$1</c:f>
              <c:strCach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strCache>
            </c:strRef>
          </c:cat>
          <c:val>
            <c:numRef>
              <c:f>'I Industrie BIP'!$C$4:$AK$4</c:f>
              <c:numCache>
                <c:formatCode>0.0</c:formatCode>
                <c:ptCount val="25"/>
                <c:pt idx="0">
                  <c:v>19.719748048086199</c:v>
                </c:pt>
                <c:pt idx="1">
                  <c:v>19.1015458922354</c:v>
                </c:pt>
                <c:pt idx="2">
                  <c:v>18.693755022668601</c:v>
                </c:pt>
                <c:pt idx="3">
                  <c:v>17.858440608253701</c:v>
                </c:pt>
                <c:pt idx="4">
                  <c:v>17.621975102915201</c:v>
                </c:pt>
                <c:pt idx="5">
                  <c:v>17.258045532495402</c:v>
                </c:pt>
                <c:pt idx="6">
                  <c:v>17.421646193739601</c:v>
                </c:pt>
                <c:pt idx="7">
                  <c:v>17.8057933731539</c:v>
                </c:pt>
                <c:pt idx="8">
                  <c:v>17.195930279470598</c:v>
                </c:pt>
                <c:pt idx="9">
                  <c:v>15.174286412052201</c:v>
                </c:pt>
                <c:pt idx="10">
                  <c:v>15.8090998696297</c:v>
                </c:pt>
                <c:pt idx="11">
                  <c:v>15.825303686070299</c:v>
                </c:pt>
                <c:pt idx="12">
                  <c:v>15.436693772393699</c:v>
                </c:pt>
                <c:pt idx="13">
                  <c:v>15.4315826304809</c:v>
                </c:pt>
                <c:pt idx="14">
                  <c:v>15.569385672827901</c:v>
                </c:pt>
                <c:pt idx="15">
                  <c:v>16.031750140247699</c:v>
                </c:pt>
                <c:pt idx="16">
                  <c:v>16.496836835675602</c:v>
                </c:pt>
                <c:pt idx="17">
                  <c:v>16.654441612263899</c:v>
                </c:pt>
                <c:pt idx="18">
                  <c:v>16.792816774256998</c:v>
                </c:pt>
                <c:pt idx="19">
                  <c:v>16.646894431348102</c:v>
                </c:pt>
                <c:pt idx="20">
                  <c:v>16.157746538361799</c:v>
                </c:pt>
                <c:pt idx="21">
                  <c:v>17.220436487129898</c:v>
                </c:pt>
                <c:pt idx="22">
                  <c:v>17.135786632364098</c:v>
                </c:pt>
                <c:pt idx="23">
                  <c:v>17.000345428197701</c:v>
                </c:pt>
                <c:pt idx="24">
                  <c:v>16.2887761381444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A9A-4AD7-961E-CF5792A59164}"/>
            </c:ext>
          </c:extLst>
        </c:ser>
        <c:ser>
          <c:idx val="3"/>
          <c:order val="3"/>
          <c:tx>
            <c:strRef>
              <c:f>'I Industrie BIP'!$B$5</c:f>
              <c:strCache>
                <c:ptCount val="1"/>
                <c:pt idx="0">
                  <c:v>EU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I Industrie BIP'!$C$1:$AK$1</c:f>
              <c:strCach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strCache>
            </c:strRef>
          </c:cat>
          <c:val>
            <c:numRef>
              <c:f>'I Industrie BIP'!$C$5:$AK$5</c:f>
              <c:numCache>
                <c:formatCode>0.0</c:formatCode>
                <c:ptCount val="25"/>
                <c:pt idx="0">
                  <c:v>19.4199101579343</c:v>
                </c:pt>
                <c:pt idx="1">
                  <c:v>19.024807276635801</c:v>
                </c:pt>
                <c:pt idx="2">
                  <c:v>18.500676204251</c:v>
                </c:pt>
                <c:pt idx="3">
                  <c:v>18.049049425753299</c:v>
                </c:pt>
                <c:pt idx="4">
                  <c:v>17.8601297077347</c:v>
                </c:pt>
                <c:pt idx="5">
                  <c:v>17.593659112303101</c:v>
                </c:pt>
                <c:pt idx="6">
                  <c:v>17.580992217475401</c:v>
                </c:pt>
                <c:pt idx="7">
                  <c:v>17.6382836327865</c:v>
                </c:pt>
                <c:pt idx="8">
                  <c:v>16.9348572049431</c:v>
                </c:pt>
                <c:pt idx="9">
                  <c:v>15.321499689133001</c:v>
                </c:pt>
                <c:pt idx="10">
                  <c:v>16.0695682651005</c:v>
                </c:pt>
                <c:pt idx="11">
                  <c:v>16.4610040473822</c:v>
                </c:pt>
                <c:pt idx="12">
                  <c:v>16.2410873909736</c:v>
                </c:pt>
                <c:pt idx="13">
                  <c:v>16.0882570712171</c:v>
                </c:pt>
                <c:pt idx="14">
                  <c:v>16.379462042411099</c:v>
                </c:pt>
                <c:pt idx="15">
                  <c:v>17.047382635244801</c:v>
                </c:pt>
                <c:pt idx="16">
                  <c:v>17.145896229916801</c:v>
                </c:pt>
                <c:pt idx="17">
                  <c:v>17.097211168684002</c:v>
                </c:pt>
                <c:pt idx="18">
                  <c:v>16.962327670115101</c:v>
                </c:pt>
                <c:pt idx="19">
                  <c:v>16.718078814386299</c:v>
                </c:pt>
                <c:pt idx="20">
                  <c:v>16.300367868575002</c:v>
                </c:pt>
                <c:pt idx="21">
                  <c:v>16.605402142457901</c:v>
                </c:pt>
                <c:pt idx="22">
                  <c:v>16.579563395806598</c:v>
                </c:pt>
                <c:pt idx="23">
                  <c:v>16.226007357132101</c:v>
                </c:pt>
                <c:pt idx="24">
                  <c:v>15.661924337130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A9A-4AD7-961E-CF5792A59164}"/>
            </c:ext>
          </c:extLst>
        </c:ser>
        <c:ser>
          <c:idx val="4"/>
          <c:order val="4"/>
          <c:tx>
            <c:strRef>
              <c:f>'I Industrie BIP'!$B$6</c:f>
              <c:strCache>
                <c:ptCount val="1"/>
                <c:pt idx="0">
                  <c:v>USA*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I Industrie BIP'!$C$1:$AK$1</c:f>
              <c:strCach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strCache>
            </c:strRef>
          </c:cat>
          <c:val>
            <c:numRef>
              <c:f>'I Industrie BIP'!$C$6:$AK$6</c:f>
              <c:numCache>
                <c:formatCode>0.0</c:formatCode>
                <c:ptCount val="25"/>
                <c:pt idx="0">
                  <c:v>15.6761902390825</c:v>
                </c:pt>
                <c:pt idx="1">
                  <c:v>14.4068769323883</c:v>
                </c:pt>
                <c:pt idx="2">
                  <c:v>13.942268177047801</c:v>
                </c:pt>
                <c:pt idx="3">
                  <c:v>13.8045547187699</c:v>
                </c:pt>
                <c:pt idx="4">
                  <c:v>13.669097165127599</c:v>
                </c:pt>
                <c:pt idx="5">
                  <c:v>13.4706248885406</c:v>
                </c:pt>
                <c:pt idx="6">
                  <c:v>13.490152754194799</c:v>
                </c:pt>
                <c:pt idx="7">
                  <c:v>13.243741103795699</c:v>
                </c:pt>
                <c:pt idx="8">
                  <c:v>12.664280293167099</c:v>
                </c:pt>
                <c:pt idx="9">
                  <c:v>12.092634898906599</c:v>
                </c:pt>
                <c:pt idx="10">
                  <c:v>12.3229821907954</c:v>
                </c:pt>
                <c:pt idx="11">
                  <c:v>12.379340576799001</c:v>
                </c:pt>
                <c:pt idx="12">
                  <c:v>12.2907173038348</c:v>
                </c:pt>
                <c:pt idx="13">
                  <c:v>12.241406716541499</c:v>
                </c:pt>
                <c:pt idx="14">
                  <c:v>12.0993873364141</c:v>
                </c:pt>
                <c:pt idx="15">
                  <c:v>12.102422613921</c:v>
                </c:pt>
                <c:pt idx="16">
                  <c:v>11.639812578259001</c:v>
                </c:pt>
                <c:pt idx="17">
                  <c:v>11.677466624344399</c:v>
                </c:pt>
                <c:pt idx="18">
                  <c:v>11.787715951185699</c:v>
                </c:pt>
                <c:pt idx="19">
                  <c:v>11.482861890171</c:v>
                </c:pt>
                <c:pt idx="20">
                  <c:v>11.0037692111704</c:v>
                </c:pt>
                <c:pt idx="21">
                  <c:v>11.1053399602167</c:v>
                </c:pt>
                <c:pt idx="22">
                  <c:v>11.1053399602167</c:v>
                </c:pt>
                <c:pt idx="23">
                  <c:v>11.1053399602167</c:v>
                </c:pt>
                <c:pt idx="24">
                  <c:v>11.10533996021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A9A-4AD7-961E-CF5792A59164}"/>
            </c:ext>
          </c:extLst>
        </c:ser>
        <c:ser>
          <c:idx val="5"/>
          <c:order val="5"/>
          <c:tx>
            <c:strRef>
              <c:f>'I Industrie BIP'!$B$7</c:f>
              <c:strCache>
                <c:ptCount val="1"/>
                <c:pt idx="0">
                  <c:v>Frankreich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I Industrie BIP'!$C$1:$AK$1</c:f>
              <c:strCach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strCache>
            </c:strRef>
          </c:cat>
          <c:val>
            <c:numRef>
              <c:f>'I Industrie BIP'!$C$7:$AK$7</c:f>
              <c:numCache>
                <c:formatCode>0.0</c:formatCode>
                <c:ptCount val="25"/>
                <c:pt idx="0">
                  <c:v>16.070237557686902</c:v>
                </c:pt>
                <c:pt idx="1">
                  <c:v>15.513971983606799</c:v>
                </c:pt>
                <c:pt idx="2">
                  <c:v>14.987156447945701</c:v>
                </c:pt>
                <c:pt idx="3">
                  <c:v>14.458675323868199</c:v>
                </c:pt>
                <c:pt idx="4">
                  <c:v>14.005663935449499</c:v>
                </c:pt>
                <c:pt idx="5">
                  <c:v>13.547475839380599</c:v>
                </c:pt>
                <c:pt idx="6">
                  <c:v>13.0261793715552</c:v>
                </c:pt>
                <c:pt idx="7">
                  <c:v>12.925341726876701</c:v>
                </c:pt>
                <c:pt idx="8">
                  <c:v>12.322100973862</c:v>
                </c:pt>
                <c:pt idx="9">
                  <c:v>11.681917817851399</c:v>
                </c:pt>
                <c:pt idx="10">
                  <c:v>11.4441355940675</c:v>
                </c:pt>
                <c:pt idx="11">
                  <c:v>11.5221888867597</c:v>
                </c:pt>
                <c:pt idx="12">
                  <c:v>11.463357640897399</c:v>
                </c:pt>
                <c:pt idx="13">
                  <c:v>11.4766370434108</c:v>
                </c:pt>
                <c:pt idx="14">
                  <c:v>11.4102180115541</c:v>
                </c:pt>
                <c:pt idx="15">
                  <c:v>11.589018833742699</c:v>
                </c:pt>
                <c:pt idx="16">
                  <c:v>11.4364716665918</c:v>
                </c:pt>
                <c:pt idx="17">
                  <c:v>11.302051755480999</c:v>
                </c:pt>
                <c:pt idx="18">
                  <c:v>11.1843646371078</c:v>
                </c:pt>
                <c:pt idx="19">
                  <c:v>11.2082551374912</c:v>
                </c:pt>
                <c:pt idx="20">
                  <c:v>10.422338395480001</c:v>
                </c:pt>
                <c:pt idx="21">
                  <c:v>10.3098459103915</c:v>
                </c:pt>
                <c:pt idx="22">
                  <c:v>10.4220603025556</c:v>
                </c:pt>
                <c:pt idx="23">
                  <c:v>10.8773643952232</c:v>
                </c:pt>
                <c:pt idx="24">
                  <c:v>10.6978681357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A9A-4AD7-961E-CF5792A59164}"/>
            </c:ext>
          </c:extLst>
        </c:ser>
        <c:ser>
          <c:idx val="6"/>
          <c:order val="6"/>
          <c:tx>
            <c:strRef>
              <c:f>'I Industrie BIP'!$B$8</c:f>
              <c:strCache>
                <c:ptCount val="1"/>
                <c:pt idx="0">
                  <c:v>UK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I Industrie BIP'!$C$1:$AK$1</c:f>
              <c:strCach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</c:strCache>
            </c:strRef>
          </c:cat>
          <c:val>
            <c:numRef>
              <c:f>'I Industrie BIP'!$C$8:$AK$8</c:f>
              <c:numCache>
                <c:formatCode>0.0</c:formatCode>
                <c:ptCount val="25"/>
                <c:pt idx="0">
                  <c:v>14.799066343296101</c:v>
                </c:pt>
                <c:pt idx="1">
                  <c:v>13.868067348322301</c:v>
                </c:pt>
                <c:pt idx="2">
                  <c:v>13.4631401930874</c:v>
                </c:pt>
                <c:pt idx="3">
                  <c:v>12.8426187138756</c:v>
                </c:pt>
                <c:pt idx="4">
                  <c:v>12.176426522999201</c:v>
                </c:pt>
                <c:pt idx="5">
                  <c:v>11.6728549590208</c:v>
                </c:pt>
                <c:pt idx="6">
                  <c:v>11.1863624468014</c:v>
                </c:pt>
                <c:pt idx="7">
                  <c:v>10.746835971163</c:v>
                </c:pt>
                <c:pt idx="8">
                  <c:v>10.599206808768001</c:v>
                </c:pt>
                <c:pt idx="9">
                  <c:v>9.9637776223994408</c:v>
                </c:pt>
                <c:pt idx="10">
                  <c:v>10.485278498388199</c:v>
                </c:pt>
                <c:pt idx="11">
                  <c:v>10.4498818653352</c:v>
                </c:pt>
                <c:pt idx="12">
                  <c:v>10.457557733365499</c:v>
                </c:pt>
                <c:pt idx="13">
                  <c:v>10.749444437805</c:v>
                </c:pt>
                <c:pt idx="14">
                  <c:v>10.553947516578299</c:v>
                </c:pt>
                <c:pt idx="15">
                  <c:v>10.4228129406739</c:v>
                </c:pt>
                <c:pt idx="16">
                  <c:v>10.223821303595701</c:v>
                </c:pt>
                <c:pt idx="17">
                  <c:v>10.154871593805099</c:v>
                </c:pt>
                <c:pt idx="18">
                  <c:v>10.034010505710301</c:v>
                </c:pt>
                <c:pt idx="19">
                  <c:v>9.8468312999697396</c:v>
                </c:pt>
                <c:pt idx="20">
                  <c:v>9.9757795224955306</c:v>
                </c:pt>
                <c:pt idx="21">
                  <c:v>9.6489043581525191</c:v>
                </c:pt>
                <c:pt idx="22">
                  <c:v>9.03996413192462</c:v>
                </c:pt>
                <c:pt idx="23">
                  <c:v>9.1470964378518005</c:v>
                </c:pt>
                <c:pt idx="24">
                  <c:v>8.8893327617496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A9A-4AD7-961E-CF5792A591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23697016"/>
        <c:axId val="823697376"/>
      </c:lineChart>
      <c:catAx>
        <c:axId val="823697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endParaRPr lang="de-DE"/>
          </a:p>
        </c:txPr>
        <c:crossAx val="823697376"/>
        <c:crosses val="autoZero"/>
        <c:auto val="1"/>
        <c:lblAlgn val="ctr"/>
        <c:lblOffset val="100"/>
        <c:tickLblSkip val="2"/>
        <c:noMultiLvlLbl val="0"/>
      </c:catAx>
      <c:valAx>
        <c:axId val="823697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endParaRPr lang="de-DE"/>
          </a:p>
        </c:txPr>
        <c:crossAx val="823697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2"/>
              </a:solidFill>
              <a:latin typeface="Source Sans Pro" panose="020B0503030403020204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chemeClr val="tx2"/>
          </a:solidFill>
          <a:latin typeface="Source Sans Pro" panose="020B0503030403020204" pitchFamily="34" charset="0"/>
        </a:defRPr>
      </a:pPr>
      <a:endParaRPr lang="de-DE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2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r>
              <a:rPr lang="de-DE"/>
              <a:t>BIP</a:t>
            </a:r>
            <a:br>
              <a:rPr lang="de-DE"/>
            </a:br>
            <a:r>
              <a:rPr lang="de-DE"/>
              <a:t>in Mrd. US-$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2"/>
              </a:solidFill>
              <a:latin typeface="Source Sans Pro" panose="020B0503030403020204" pitchFamily="34" charset="0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BIP_Ind_FuE!$B$35</c:f>
              <c:strCache>
                <c:ptCount val="1"/>
                <c:pt idx="0">
                  <c:v>EU</c:v>
                </c:pt>
              </c:strCache>
            </c:strRef>
          </c:tx>
          <c:spPr>
            <a:solidFill>
              <a:schemeClr val="accent3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BIP_Ind_FuE!$C$35</c:f>
              <c:numCache>
                <c:formatCode>_-* #,##0\ _€_-;\-* #,##0\ _€_-;_-* "-"??\ _€_-;_-@_-</c:formatCode>
                <c:ptCount val="1"/>
                <c:pt idx="0">
                  <c:v>19423.116130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ED-4450-9D8A-002842371DEE}"/>
            </c:ext>
          </c:extLst>
        </c:ser>
        <c:ser>
          <c:idx val="1"/>
          <c:order val="1"/>
          <c:tx>
            <c:strRef>
              <c:f>BIP_Ind_FuE!$B$34</c:f>
              <c:strCache>
                <c:ptCount val="1"/>
                <c:pt idx="0">
                  <c:v>USA</c:v>
                </c:pt>
              </c:strCache>
            </c:strRef>
          </c:tx>
          <c:spPr>
            <a:solidFill>
              <a:schemeClr val="accent2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BIP_Ind_FuE!$C$34</c:f>
              <c:numCache>
                <c:formatCode>_-* #,##0\ _€_-;\-* #,##0\ _€_-;_-* "-"??\ _€_-;_-@_-</c:formatCode>
                <c:ptCount val="1"/>
                <c:pt idx="0">
                  <c:v>2920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ED-4450-9D8A-002842371DEE}"/>
            </c:ext>
          </c:extLst>
        </c:ser>
        <c:ser>
          <c:idx val="0"/>
          <c:order val="2"/>
          <c:tx>
            <c:strRef>
              <c:f>BIP_Ind_FuE!$B$33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BIP_Ind_FuE!$C$33</c:f>
              <c:numCache>
                <c:formatCode>_-* #,##0\ _€_-;\-* #,##0\ _€_-;_-* "-"??\ _€_-;_-@_-</c:formatCode>
                <c:ptCount val="1"/>
                <c:pt idx="0">
                  <c:v>18743.802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4ED-4450-9D8A-002842371DE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318528248"/>
        <c:axId val="1318532184"/>
      </c:barChart>
      <c:catAx>
        <c:axId val="1318528248"/>
        <c:scaling>
          <c:orientation val="minMax"/>
        </c:scaling>
        <c:delete val="1"/>
        <c:axPos val="b"/>
        <c:majorTickMark val="out"/>
        <c:minorTickMark val="none"/>
        <c:tickLblPos val="nextTo"/>
        <c:crossAx val="1318532184"/>
        <c:crosses val="autoZero"/>
        <c:auto val="1"/>
        <c:lblAlgn val="ctr"/>
        <c:lblOffset val="100"/>
        <c:noMultiLvlLbl val="0"/>
      </c:catAx>
      <c:valAx>
        <c:axId val="1318532184"/>
        <c:scaling>
          <c:orientation val="minMax"/>
        </c:scaling>
        <c:delete val="1"/>
        <c:axPos val="l"/>
        <c:numFmt formatCode="_-* #,##0\ _€_-;\-* #,##0\ _€_-;_-* &quot;-&quot;??\ _€_-;_-@_-" sourceLinked="1"/>
        <c:majorTickMark val="out"/>
        <c:minorTickMark val="none"/>
        <c:tickLblPos val="nextTo"/>
        <c:crossAx val="1318528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012418524410791"/>
          <c:y val="0.89409667541557303"/>
          <c:w val="0.58270133113156253"/>
          <c:h val="7.81255468066491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400" b="0" i="0" u="none" strike="noStrike" kern="1200" baseline="0">
              <a:solidFill>
                <a:schemeClr val="tx2"/>
              </a:solidFill>
              <a:latin typeface="Source Sans Pro" panose="020B0503030403020204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400" b="0">
          <a:solidFill>
            <a:schemeClr val="tx2"/>
          </a:solidFill>
          <a:latin typeface="Source Sans Pro" panose="020B0503030403020204" pitchFamily="34" charset="0"/>
        </a:defRPr>
      </a:pPr>
      <a:endParaRPr lang="de-DE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2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r>
              <a:rPr lang="de-DE"/>
              <a:t>FuE-Ausgaben Industrie</a:t>
            </a:r>
            <a:br>
              <a:rPr lang="de-DE"/>
            </a:br>
            <a:r>
              <a:rPr lang="de-DE"/>
              <a:t>in Mrd. Euro</a:t>
            </a:r>
          </a:p>
        </c:rich>
      </c:tx>
      <c:layout>
        <c:manualLayout>
          <c:xMode val="edge"/>
          <c:yMode val="edge"/>
          <c:x val="0.17621491228070171"/>
          <c:y val="2.11666666666666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2"/>
              </a:solidFill>
              <a:latin typeface="Source Sans Pro" panose="020B0503030403020204" pitchFamily="34" charset="0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4.7037037037037037E-2"/>
          <c:y val="0.25889479166666668"/>
          <c:w val="0.91376543209876548"/>
          <c:h val="0.56286840277777783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BIP_Ind_FuE!$B$29</c:f>
              <c:strCache>
                <c:ptCount val="1"/>
                <c:pt idx="0">
                  <c:v>EU</c:v>
                </c:pt>
              </c:strCache>
            </c:strRef>
          </c:tx>
          <c:spPr>
            <a:solidFill>
              <a:schemeClr val="accent3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BIP_Ind_FuE!$D$29</c:f>
              <c:numCache>
                <c:formatCode>_-* #,##0\ _€_-;\-* #,##0\ _€_-;_-* "-"??\ _€_-;_-@_-</c:formatCode>
                <c:ptCount val="1"/>
                <c:pt idx="0">
                  <c:v>200.337663134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47-472B-A6DC-B83B7FD259B7}"/>
            </c:ext>
          </c:extLst>
        </c:ser>
        <c:ser>
          <c:idx val="1"/>
          <c:order val="1"/>
          <c:tx>
            <c:strRef>
              <c:f>BIP_Ind_FuE!$B$28</c:f>
              <c:strCache>
                <c:ptCount val="1"/>
                <c:pt idx="0">
                  <c:v>USA</c:v>
                </c:pt>
              </c:strCache>
            </c:strRef>
          </c:tx>
          <c:spPr>
            <a:solidFill>
              <a:schemeClr val="accent2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BIP_Ind_FuE!$D$28</c:f>
              <c:numCache>
                <c:formatCode>_-* #,##0\ _€_-;\-* #,##0\ _€_-;_-* "-"??\ _€_-;_-@_-</c:formatCode>
                <c:ptCount val="1"/>
                <c:pt idx="0">
                  <c:v>382.574555633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47-472B-A6DC-B83B7FD259B7}"/>
            </c:ext>
          </c:extLst>
        </c:ser>
        <c:ser>
          <c:idx val="0"/>
          <c:order val="2"/>
          <c:tx>
            <c:strRef>
              <c:f>BIP_Ind_FuE!$B$27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BIP_Ind_FuE!$D$27</c:f>
              <c:numCache>
                <c:formatCode>_-* #,##0\ _€_-;\-* #,##0\ _€_-;_-* "-"??\ _€_-;_-@_-</c:formatCode>
                <c:ptCount val="1"/>
                <c:pt idx="0">
                  <c:v>300.77783343923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47-472B-A6DC-B83B7FD259B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318528248"/>
        <c:axId val="1318532184"/>
      </c:barChart>
      <c:catAx>
        <c:axId val="1318528248"/>
        <c:scaling>
          <c:orientation val="minMax"/>
        </c:scaling>
        <c:delete val="1"/>
        <c:axPos val="b"/>
        <c:majorTickMark val="out"/>
        <c:minorTickMark val="none"/>
        <c:tickLblPos val="nextTo"/>
        <c:crossAx val="1318532184"/>
        <c:crosses val="autoZero"/>
        <c:auto val="1"/>
        <c:lblAlgn val="ctr"/>
        <c:lblOffset val="100"/>
        <c:noMultiLvlLbl val="0"/>
      </c:catAx>
      <c:valAx>
        <c:axId val="1318532184"/>
        <c:scaling>
          <c:orientation val="minMax"/>
        </c:scaling>
        <c:delete val="1"/>
        <c:axPos val="l"/>
        <c:numFmt formatCode="_-* #,##0\ _€_-;\-* #,##0\ _€_-;_-* &quot;-&quot;??\ _€_-;_-@_-" sourceLinked="1"/>
        <c:majorTickMark val="out"/>
        <c:minorTickMark val="none"/>
        <c:tickLblPos val="nextTo"/>
        <c:crossAx val="1318528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012418524410791"/>
          <c:y val="0.89409667541557303"/>
          <c:w val="0.58270133113156253"/>
          <c:h val="7.81255468066491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400" b="0" i="0" u="none" strike="noStrike" kern="1200" baseline="0">
              <a:solidFill>
                <a:schemeClr val="tx2"/>
              </a:solidFill>
              <a:latin typeface="Source Sans Pro" panose="020B0503030403020204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400" b="0">
          <a:solidFill>
            <a:schemeClr val="tx2"/>
          </a:solidFill>
          <a:latin typeface="Source Sans Pro" panose="020B0503030403020204" pitchFamily="34" charset="0"/>
        </a:defRPr>
      </a:pPr>
      <a:endParaRPr lang="de-D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1419</cdr:x>
      <cdr:y>0.00332</cdr:y>
    </cdr:from>
    <cdr:to>
      <cdr:x>0.98632</cdr:x>
      <cdr:y>0.21949</cdr:y>
    </cdr:to>
    <cdr:sp macro="" textlink="">
      <cdr:nvSpPr>
        <cdr:cNvPr id="3" name="Textfeld 6"/>
        <cdr:cNvSpPr txBox="1"/>
      </cdr:nvSpPr>
      <cdr:spPr>
        <a:xfrm xmlns:a="http://schemas.openxmlformats.org/drawingml/2006/main">
          <a:off x="5192697" y="13029"/>
          <a:ext cx="1978589" cy="848300"/>
        </a:xfrm>
        <a:prstGeom xmlns:a="http://schemas.openxmlformats.org/drawingml/2006/main" prst="round2DiagRect">
          <a:avLst>
            <a:gd name="adj1" fmla="val 0"/>
            <a:gd name="adj2" fmla="val 0"/>
          </a:avLst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72000" tIns="36000" rIns="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>
            <a:lnSpc>
              <a:spcPct val="90000"/>
            </a:lnSpc>
            <a:spcAft>
              <a:spcPts val="600"/>
            </a:spcAft>
          </a:pPr>
          <a:r>
            <a:rPr lang="de-DE" sz="1400" b="1" i="0" dirty="0">
              <a:solidFill>
                <a:schemeClr val="tx2"/>
              </a:solidFill>
            </a:rPr>
            <a:t>Die Industrie* trägt </a:t>
          </a:r>
          <a:br>
            <a:rPr lang="de-DE" sz="1400" b="1" i="0" dirty="0">
              <a:solidFill>
                <a:schemeClr val="tx2"/>
              </a:solidFill>
            </a:rPr>
          </a:br>
          <a:r>
            <a:rPr lang="de-DE" sz="1400" b="1" i="0" dirty="0">
              <a:solidFill>
                <a:schemeClr val="tx2"/>
              </a:solidFill>
            </a:rPr>
            <a:t>rund 767 Mrd. Euro direkt zur deutschen Wertschöpfung bei.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5AA153-D803-4BF8-898F-430E71842932}" type="datetimeFigureOut">
              <a:rPr lang="de-DE" smtClean="0"/>
              <a:t>03.1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A522CC-2A09-4A63-B0B7-E290477886C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55673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900D-093B-4C83-96B6-582A88582CA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3000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E42C20-C84D-4789-8E2C-8679D38BC77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039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E42C20-C84D-4789-8E2C-8679D38BC77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54292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de-DE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900D-093B-4C83-96B6-582A88582CA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20394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Umgekehrte Reihenfolg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900D-093B-4C83-96B6-582A88582CA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5892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900D-093B-4C83-96B6-582A88582CA1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91594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900D-093B-4C83-96B6-582A88582CA1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5704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">
            <a:extLst>
              <a:ext uri="{FF2B5EF4-FFF2-40B4-BE49-F238E27FC236}">
                <a16:creationId xmlns:a16="http://schemas.microsoft.com/office/drawing/2014/main" id="{CF041FB5-54CF-D245-DA00-9545C69954CF}"/>
              </a:ext>
            </a:extLst>
          </p:cNvPr>
          <p:cNvSpPr txBox="1"/>
          <p:nvPr userDrawn="1"/>
        </p:nvSpPr>
        <p:spPr>
          <a:xfrm>
            <a:off x="47328" y="725696"/>
            <a:ext cx="12097344" cy="54066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6600" cap="all" baseline="0" dirty="0">
                <a:solidFill>
                  <a:srgbClr val="FF3EB5"/>
                </a:solidFill>
                <a:latin typeface="Montserrat Black" pitchFamily="2" charset="0"/>
              </a:rPr>
              <a:t>Titel</a:t>
            </a:r>
          </a:p>
          <a:p>
            <a:pPr algn="ctr">
              <a:lnSpc>
                <a:spcPts val="10000"/>
              </a:lnSpc>
            </a:pPr>
            <a:r>
              <a:rPr lang="de-DE" sz="16600" cap="all" baseline="0" dirty="0">
                <a:solidFill>
                  <a:srgbClr val="FF3EB5"/>
                </a:solidFill>
                <a:latin typeface="Montserrat Black" pitchFamily="2" charset="0"/>
              </a:rPr>
              <a:t>+</a:t>
            </a:r>
          </a:p>
          <a:p>
            <a:pPr algn="ctr"/>
            <a:r>
              <a:rPr lang="de-DE" sz="9600" cap="all" baseline="0" dirty="0">
                <a:solidFill>
                  <a:srgbClr val="FF3EB5"/>
                </a:solidFill>
                <a:latin typeface="Montserrat Black" pitchFamily="2" charset="0"/>
              </a:rPr>
              <a:t>Zwischentitel</a:t>
            </a:r>
            <a:endParaRPr lang="de-DE" sz="9600" cap="all" dirty="0">
              <a:solidFill>
                <a:srgbClr val="FF3EB5"/>
              </a:solidFill>
              <a:latin typeface="Montserrat Black" panose="00000A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6441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Orange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FF441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25260" y="966418"/>
            <a:ext cx="2765857" cy="2107960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rgbClr val="FF4414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766487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b | Weiß/Dunkel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-platzhalte">
            <a:extLst>
              <a:ext uri="{FF2B5EF4-FFF2-40B4-BE49-F238E27FC236}">
                <a16:creationId xmlns:a16="http://schemas.microsoft.com/office/drawing/2014/main" id="{D18B794D-902B-AA65-381D-28ABB5C845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6374506" cy="6858000"/>
          </a:xfrm>
          <a:custGeom>
            <a:avLst/>
            <a:gdLst>
              <a:gd name="connsiteX0" fmla="*/ 0 w 6374506"/>
              <a:gd name="connsiteY0" fmla="*/ 0 h 6858000"/>
              <a:gd name="connsiteX1" fmla="*/ 4151783 w 6374506"/>
              <a:gd name="connsiteY1" fmla="*/ 0 h 6858000"/>
              <a:gd name="connsiteX2" fmla="*/ 4151783 w 6374506"/>
              <a:gd name="connsiteY2" fmla="*/ 5379552 h 6858000"/>
              <a:gd name="connsiteX3" fmla="*/ 6374506 w 6374506"/>
              <a:gd name="connsiteY3" fmla="*/ 6858000 h 6858000"/>
              <a:gd name="connsiteX4" fmla="*/ 4151783 w 6374506"/>
              <a:gd name="connsiteY4" fmla="*/ 6858000 h 6858000"/>
              <a:gd name="connsiteX5" fmla="*/ 4142258 w 6374506"/>
              <a:gd name="connsiteY5" fmla="*/ 6858000 h 6858000"/>
              <a:gd name="connsiteX6" fmla="*/ 0 w 637450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4506" h="6858000">
                <a:moveTo>
                  <a:pt x="0" y="0"/>
                </a:moveTo>
                <a:lnTo>
                  <a:pt x="4151783" y="0"/>
                </a:lnTo>
                <a:lnTo>
                  <a:pt x="4151783" y="5379552"/>
                </a:lnTo>
                <a:lnTo>
                  <a:pt x="6374506" y="6858000"/>
                </a:lnTo>
                <a:lnTo>
                  <a:pt x="4151783" y="6858000"/>
                </a:lnTo>
                <a:lnTo>
                  <a:pt x="414225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342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BE055E1-B7C3-048D-84E0-D9A7E4B243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5793" y="5391613"/>
            <a:ext cx="1925303" cy="1466407"/>
          </a:xfrm>
          <a:prstGeom prst="rect">
            <a:avLst/>
          </a:prstGeom>
        </p:spPr>
      </p:pic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817" y="1265979"/>
            <a:ext cx="7272807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39816" y="919990"/>
            <a:ext cx="7272807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6642000"/>
            <a:ext cx="4068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780800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b |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-platzhalte">
            <a:extLst>
              <a:ext uri="{FF2B5EF4-FFF2-40B4-BE49-F238E27FC236}">
                <a16:creationId xmlns:a16="http://schemas.microsoft.com/office/drawing/2014/main" id="{D18B794D-902B-AA65-381D-28ABB5C845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6374506" cy="6858000"/>
          </a:xfrm>
          <a:custGeom>
            <a:avLst/>
            <a:gdLst>
              <a:gd name="connsiteX0" fmla="*/ 0 w 6374506"/>
              <a:gd name="connsiteY0" fmla="*/ 0 h 6858000"/>
              <a:gd name="connsiteX1" fmla="*/ 4151783 w 6374506"/>
              <a:gd name="connsiteY1" fmla="*/ 0 h 6858000"/>
              <a:gd name="connsiteX2" fmla="*/ 4151783 w 6374506"/>
              <a:gd name="connsiteY2" fmla="*/ 5379552 h 6858000"/>
              <a:gd name="connsiteX3" fmla="*/ 6374506 w 6374506"/>
              <a:gd name="connsiteY3" fmla="*/ 6858000 h 6858000"/>
              <a:gd name="connsiteX4" fmla="*/ 4151783 w 6374506"/>
              <a:gd name="connsiteY4" fmla="*/ 6858000 h 6858000"/>
              <a:gd name="connsiteX5" fmla="*/ 4142258 w 6374506"/>
              <a:gd name="connsiteY5" fmla="*/ 6858000 h 6858000"/>
              <a:gd name="connsiteX6" fmla="*/ 0 w 637450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4506" h="6858000">
                <a:moveTo>
                  <a:pt x="0" y="0"/>
                </a:moveTo>
                <a:lnTo>
                  <a:pt x="4151783" y="0"/>
                </a:lnTo>
                <a:lnTo>
                  <a:pt x="4151783" y="5379552"/>
                </a:lnTo>
                <a:lnTo>
                  <a:pt x="6374506" y="6858000"/>
                </a:lnTo>
                <a:lnTo>
                  <a:pt x="4151783" y="6858000"/>
                </a:lnTo>
                <a:lnTo>
                  <a:pt x="414225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342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BE055E1-B7C3-048D-84E0-D9A7E4B243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5793" y="5391146"/>
            <a:ext cx="1925303" cy="1467343"/>
          </a:xfrm>
          <a:prstGeom prst="rect">
            <a:avLst/>
          </a:prstGeom>
        </p:spPr>
      </p:pic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817" y="1265979"/>
            <a:ext cx="7272807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39816" y="919990"/>
            <a:ext cx="7272807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6642000"/>
            <a:ext cx="4068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465857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b | Weiß/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-platzhalte">
            <a:extLst>
              <a:ext uri="{FF2B5EF4-FFF2-40B4-BE49-F238E27FC236}">
                <a16:creationId xmlns:a16="http://schemas.microsoft.com/office/drawing/2014/main" id="{D18B794D-902B-AA65-381D-28ABB5C845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6374506" cy="6858000"/>
          </a:xfrm>
          <a:custGeom>
            <a:avLst/>
            <a:gdLst>
              <a:gd name="connsiteX0" fmla="*/ 0 w 6374506"/>
              <a:gd name="connsiteY0" fmla="*/ 0 h 6858000"/>
              <a:gd name="connsiteX1" fmla="*/ 4151783 w 6374506"/>
              <a:gd name="connsiteY1" fmla="*/ 0 h 6858000"/>
              <a:gd name="connsiteX2" fmla="*/ 4151783 w 6374506"/>
              <a:gd name="connsiteY2" fmla="*/ 5379552 h 6858000"/>
              <a:gd name="connsiteX3" fmla="*/ 6374506 w 6374506"/>
              <a:gd name="connsiteY3" fmla="*/ 6858000 h 6858000"/>
              <a:gd name="connsiteX4" fmla="*/ 4151783 w 6374506"/>
              <a:gd name="connsiteY4" fmla="*/ 6858000 h 6858000"/>
              <a:gd name="connsiteX5" fmla="*/ 4142258 w 6374506"/>
              <a:gd name="connsiteY5" fmla="*/ 6858000 h 6858000"/>
              <a:gd name="connsiteX6" fmla="*/ 0 w 637450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4506" h="6858000">
                <a:moveTo>
                  <a:pt x="0" y="0"/>
                </a:moveTo>
                <a:lnTo>
                  <a:pt x="4151783" y="0"/>
                </a:lnTo>
                <a:lnTo>
                  <a:pt x="4151783" y="5379552"/>
                </a:lnTo>
                <a:lnTo>
                  <a:pt x="6374506" y="6858000"/>
                </a:lnTo>
                <a:lnTo>
                  <a:pt x="4151783" y="6858000"/>
                </a:lnTo>
                <a:lnTo>
                  <a:pt x="414225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342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BE055E1-B7C3-048D-84E0-D9A7E4B243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5793" y="5391146"/>
            <a:ext cx="1925303" cy="1467342"/>
          </a:xfrm>
          <a:prstGeom prst="rect">
            <a:avLst/>
          </a:prstGeom>
        </p:spPr>
      </p:pic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817" y="1265979"/>
            <a:ext cx="7272807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39816" y="919990"/>
            <a:ext cx="7272807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6642000"/>
            <a:ext cx="4068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839102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b | Pink">
    <p:bg>
      <p:bgPr>
        <a:solidFill>
          <a:srgbClr val="FF3E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-platzhalter">
            <a:extLst>
              <a:ext uri="{FF2B5EF4-FFF2-40B4-BE49-F238E27FC236}">
                <a16:creationId xmlns:a16="http://schemas.microsoft.com/office/drawing/2014/main" id="{D18B794D-902B-AA65-381D-28ABB5C845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6374506" cy="6858000"/>
          </a:xfrm>
          <a:custGeom>
            <a:avLst/>
            <a:gdLst>
              <a:gd name="connsiteX0" fmla="*/ 0 w 6374506"/>
              <a:gd name="connsiteY0" fmla="*/ 0 h 6858000"/>
              <a:gd name="connsiteX1" fmla="*/ 4151783 w 6374506"/>
              <a:gd name="connsiteY1" fmla="*/ 0 h 6858000"/>
              <a:gd name="connsiteX2" fmla="*/ 4151783 w 6374506"/>
              <a:gd name="connsiteY2" fmla="*/ 5379552 h 6858000"/>
              <a:gd name="connsiteX3" fmla="*/ 6374506 w 6374506"/>
              <a:gd name="connsiteY3" fmla="*/ 6858000 h 6858000"/>
              <a:gd name="connsiteX4" fmla="*/ 4151783 w 6374506"/>
              <a:gd name="connsiteY4" fmla="*/ 6858000 h 6858000"/>
              <a:gd name="connsiteX5" fmla="*/ 4142258 w 6374506"/>
              <a:gd name="connsiteY5" fmla="*/ 6858000 h 6858000"/>
              <a:gd name="connsiteX6" fmla="*/ 0 w 637450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4506" h="6858000">
                <a:moveTo>
                  <a:pt x="0" y="0"/>
                </a:moveTo>
                <a:lnTo>
                  <a:pt x="4151783" y="0"/>
                </a:lnTo>
                <a:lnTo>
                  <a:pt x="4151783" y="5379552"/>
                </a:lnTo>
                <a:lnTo>
                  <a:pt x="6374506" y="6858000"/>
                </a:lnTo>
                <a:lnTo>
                  <a:pt x="4151783" y="6858000"/>
                </a:lnTo>
                <a:lnTo>
                  <a:pt x="414225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342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BE055E1-B7C3-048D-84E0-D9A7E4B243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5794" y="5391146"/>
            <a:ext cx="1925301" cy="1467342"/>
          </a:xfrm>
          <a:prstGeom prst="rect">
            <a:avLst/>
          </a:prstGeom>
        </p:spPr>
      </p:pic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817" y="1265979"/>
            <a:ext cx="7272807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39816" y="919990"/>
            <a:ext cx="7272807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6642000"/>
            <a:ext cx="4068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784193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b | Türkis">
    <p:bg>
      <p:bgPr>
        <a:solidFill>
          <a:srgbClr val="10AD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-platzhalter">
            <a:extLst>
              <a:ext uri="{FF2B5EF4-FFF2-40B4-BE49-F238E27FC236}">
                <a16:creationId xmlns:a16="http://schemas.microsoft.com/office/drawing/2014/main" id="{D18B794D-902B-AA65-381D-28ABB5C845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6374506" cy="6858000"/>
          </a:xfrm>
          <a:custGeom>
            <a:avLst/>
            <a:gdLst>
              <a:gd name="connsiteX0" fmla="*/ 0 w 6374506"/>
              <a:gd name="connsiteY0" fmla="*/ 0 h 6858000"/>
              <a:gd name="connsiteX1" fmla="*/ 4151783 w 6374506"/>
              <a:gd name="connsiteY1" fmla="*/ 0 h 6858000"/>
              <a:gd name="connsiteX2" fmla="*/ 4151783 w 6374506"/>
              <a:gd name="connsiteY2" fmla="*/ 5379552 h 6858000"/>
              <a:gd name="connsiteX3" fmla="*/ 6374506 w 6374506"/>
              <a:gd name="connsiteY3" fmla="*/ 6858000 h 6858000"/>
              <a:gd name="connsiteX4" fmla="*/ 4151783 w 6374506"/>
              <a:gd name="connsiteY4" fmla="*/ 6858000 h 6858000"/>
              <a:gd name="connsiteX5" fmla="*/ 4142258 w 6374506"/>
              <a:gd name="connsiteY5" fmla="*/ 6858000 h 6858000"/>
              <a:gd name="connsiteX6" fmla="*/ 0 w 637450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4506" h="6858000">
                <a:moveTo>
                  <a:pt x="0" y="0"/>
                </a:moveTo>
                <a:lnTo>
                  <a:pt x="4151783" y="0"/>
                </a:lnTo>
                <a:lnTo>
                  <a:pt x="4151783" y="5379552"/>
                </a:lnTo>
                <a:lnTo>
                  <a:pt x="6374506" y="6858000"/>
                </a:lnTo>
                <a:lnTo>
                  <a:pt x="4151783" y="6858000"/>
                </a:lnTo>
                <a:lnTo>
                  <a:pt x="414225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342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BE055E1-B7C3-048D-84E0-D9A7E4B243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5794" y="5391146"/>
            <a:ext cx="1925301" cy="1467342"/>
          </a:xfrm>
          <a:prstGeom prst="rect">
            <a:avLst/>
          </a:prstGeom>
        </p:spPr>
      </p:pic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817" y="1265979"/>
            <a:ext cx="7272807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39816" y="919990"/>
            <a:ext cx="7272807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6642000"/>
            <a:ext cx="4068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710940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b | Violett">
    <p:bg>
      <p:bgPr>
        <a:solidFill>
          <a:srgbClr val="8C3E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7BE055E1-B7C3-048D-84E0-D9A7E4B243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5794" y="5391146"/>
            <a:ext cx="1925300" cy="1467340"/>
          </a:xfrm>
          <a:prstGeom prst="rect">
            <a:avLst/>
          </a:prstGeom>
        </p:spPr>
      </p:pic>
      <p:sp>
        <p:nvSpPr>
          <p:cNvPr id="3" name="Bild-platzhalter">
            <a:extLst>
              <a:ext uri="{FF2B5EF4-FFF2-40B4-BE49-F238E27FC236}">
                <a16:creationId xmlns:a16="http://schemas.microsoft.com/office/drawing/2014/main" id="{D18B794D-902B-AA65-381D-28ABB5C845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6374506" cy="6858000"/>
          </a:xfrm>
          <a:custGeom>
            <a:avLst/>
            <a:gdLst>
              <a:gd name="connsiteX0" fmla="*/ 0 w 6374506"/>
              <a:gd name="connsiteY0" fmla="*/ 0 h 6858000"/>
              <a:gd name="connsiteX1" fmla="*/ 4151783 w 6374506"/>
              <a:gd name="connsiteY1" fmla="*/ 0 h 6858000"/>
              <a:gd name="connsiteX2" fmla="*/ 4151783 w 6374506"/>
              <a:gd name="connsiteY2" fmla="*/ 5379552 h 6858000"/>
              <a:gd name="connsiteX3" fmla="*/ 6374506 w 6374506"/>
              <a:gd name="connsiteY3" fmla="*/ 6858000 h 6858000"/>
              <a:gd name="connsiteX4" fmla="*/ 4151783 w 6374506"/>
              <a:gd name="connsiteY4" fmla="*/ 6858000 h 6858000"/>
              <a:gd name="connsiteX5" fmla="*/ 4142258 w 6374506"/>
              <a:gd name="connsiteY5" fmla="*/ 6858000 h 6858000"/>
              <a:gd name="connsiteX6" fmla="*/ 0 w 637450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4506" h="6858000">
                <a:moveTo>
                  <a:pt x="0" y="0"/>
                </a:moveTo>
                <a:lnTo>
                  <a:pt x="4151783" y="0"/>
                </a:lnTo>
                <a:lnTo>
                  <a:pt x="4151783" y="5379552"/>
                </a:lnTo>
                <a:lnTo>
                  <a:pt x="6374506" y="6858000"/>
                </a:lnTo>
                <a:lnTo>
                  <a:pt x="4151783" y="6858000"/>
                </a:lnTo>
                <a:lnTo>
                  <a:pt x="414225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342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817" y="1265979"/>
            <a:ext cx="7272807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39816" y="919990"/>
            <a:ext cx="7272807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6642000"/>
            <a:ext cx="4068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1447216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b | Orange">
    <p:bg>
      <p:bgPr>
        <a:solidFill>
          <a:srgbClr val="FF4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-platzhalter">
            <a:extLst>
              <a:ext uri="{FF2B5EF4-FFF2-40B4-BE49-F238E27FC236}">
                <a16:creationId xmlns:a16="http://schemas.microsoft.com/office/drawing/2014/main" id="{D18B794D-902B-AA65-381D-28ABB5C845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6374506" cy="6858000"/>
          </a:xfrm>
          <a:custGeom>
            <a:avLst/>
            <a:gdLst>
              <a:gd name="connsiteX0" fmla="*/ 0 w 6374506"/>
              <a:gd name="connsiteY0" fmla="*/ 0 h 6858000"/>
              <a:gd name="connsiteX1" fmla="*/ 4151783 w 6374506"/>
              <a:gd name="connsiteY1" fmla="*/ 0 h 6858000"/>
              <a:gd name="connsiteX2" fmla="*/ 4151783 w 6374506"/>
              <a:gd name="connsiteY2" fmla="*/ 5379552 h 6858000"/>
              <a:gd name="connsiteX3" fmla="*/ 6374506 w 6374506"/>
              <a:gd name="connsiteY3" fmla="*/ 6858000 h 6858000"/>
              <a:gd name="connsiteX4" fmla="*/ 4151783 w 6374506"/>
              <a:gd name="connsiteY4" fmla="*/ 6858000 h 6858000"/>
              <a:gd name="connsiteX5" fmla="*/ 4142258 w 6374506"/>
              <a:gd name="connsiteY5" fmla="*/ 6858000 h 6858000"/>
              <a:gd name="connsiteX6" fmla="*/ 0 w 637450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4506" h="6858000">
                <a:moveTo>
                  <a:pt x="0" y="0"/>
                </a:moveTo>
                <a:lnTo>
                  <a:pt x="4151783" y="0"/>
                </a:lnTo>
                <a:lnTo>
                  <a:pt x="4151783" y="5379552"/>
                </a:lnTo>
                <a:lnTo>
                  <a:pt x="6374506" y="6858000"/>
                </a:lnTo>
                <a:lnTo>
                  <a:pt x="4151783" y="6858000"/>
                </a:lnTo>
                <a:lnTo>
                  <a:pt x="414225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342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BE055E1-B7C3-048D-84E0-D9A7E4B243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5794" y="5391146"/>
            <a:ext cx="1925301" cy="1467342"/>
          </a:xfrm>
          <a:prstGeom prst="rect">
            <a:avLst/>
          </a:prstGeom>
        </p:spPr>
      </p:pic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817" y="1265979"/>
            <a:ext cx="7272807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39816" y="919990"/>
            <a:ext cx="7272807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6642000"/>
            <a:ext cx="4068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603084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b | Gold">
    <p:bg>
      <p:bgPr>
        <a:solidFill>
          <a:srgbClr val="FF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-platzhalter">
            <a:extLst>
              <a:ext uri="{FF2B5EF4-FFF2-40B4-BE49-F238E27FC236}">
                <a16:creationId xmlns:a16="http://schemas.microsoft.com/office/drawing/2014/main" id="{D18B794D-902B-AA65-381D-28ABB5C845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6374506" cy="6858000"/>
          </a:xfrm>
          <a:custGeom>
            <a:avLst/>
            <a:gdLst>
              <a:gd name="connsiteX0" fmla="*/ 0 w 6374506"/>
              <a:gd name="connsiteY0" fmla="*/ 0 h 6858000"/>
              <a:gd name="connsiteX1" fmla="*/ 4151783 w 6374506"/>
              <a:gd name="connsiteY1" fmla="*/ 0 h 6858000"/>
              <a:gd name="connsiteX2" fmla="*/ 4151783 w 6374506"/>
              <a:gd name="connsiteY2" fmla="*/ 5379552 h 6858000"/>
              <a:gd name="connsiteX3" fmla="*/ 6374506 w 6374506"/>
              <a:gd name="connsiteY3" fmla="*/ 6858000 h 6858000"/>
              <a:gd name="connsiteX4" fmla="*/ 4151783 w 6374506"/>
              <a:gd name="connsiteY4" fmla="*/ 6858000 h 6858000"/>
              <a:gd name="connsiteX5" fmla="*/ 4142258 w 6374506"/>
              <a:gd name="connsiteY5" fmla="*/ 6858000 h 6858000"/>
              <a:gd name="connsiteX6" fmla="*/ 0 w 637450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4506" h="6858000">
                <a:moveTo>
                  <a:pt x="0" y="0"/>
                </a:moveTo>
                <a:lnTo>
                  <a:pt x="4151783" y="0"/>
                </a:lnTo>
                <a:lnTo>
                  <a:pt x="4151783" y="5379552"/>
                </a:lnTo>
                <a:lnTo>
                  <a:pt x="6374506" y="6858000"/>
                </a:lnTo>
                <a:lnTo>
                  <a:pt x="4151783" y="6858000"/>
                </a:lnTo>
                <a:lnTo>
                  <a:pt x="414225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342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BE055E1-B7C3-048D-84E0-D9A7E4B243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5794" y="5391146"/>
            <a:ext cx="1925300" cy="1467341"/>
          </a:xfrm>
          <a:prstGeom prst="rect">
            <a:avLst/>
          </a:prstGeom>
        </p:spPr>
      </p:pic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817" y="1265979"/>
            <a:ext cx="7272807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39816" y="919990"/>
            <a:ext cx="7272807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6642000"/>
            <a:ext cx="4068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058700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b | Grün">
    <p:bg>
      <p:bgPr>
        <a:solidFill>
          <a:srgbClr val="10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7BE055E1-B7C3-048D-84E0-D9A7E4B243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5794" y="5391146"/>
            <a:ext cx="1925300" cy="1467340"/>
          </a:xfrm>
          <a:prstGeom prst="rect">
            <a:avLst/>
          </a:prstGeom>
        </p:spPr>
      </p:pic>
      <p:sp>
        <p:nvSpPr>
          <p:cNvPr id="3" name="Bild-platzhalter">
            <a:extLst>
              <a:ext uri="{FF2B5EF4-FFF2-40B4-BE49-F238E27FC236}">
                <a16:creationId xmlns:a16="http://schemas.microsoft.com/office/drawing/2014/main" id="{D18B794D-902B-AA65-381D-28ABB5C845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6374506" cy="6858000"/>
          </a:xfrm>
          <a:custGeom>
            <a:avLst/>
            <a:gdLst>
              <a:gd name="connsiteX0" fmla="*/ 0 w 6374506"/>
              <a:gd name="connsiteY0" fmla="*/ 0 h 6858000"/>
              <a:gd name="connsiteX1" fmla="*/ 4151783 w 6374506"/>
              <a:gd name="connsiteY1" fmla="*/ 0 h 6858000"/>
              <a:gd name="connsiteX2" fmla="*/ 4151783 w 6374506"/>
              <a:gd name="connsiteY2" fmla="*/ 5379552 h 6858000"/>
              <a:gd name="connsiteX3" fmla="*/ 6374506 w 6374506"/>
              <a:gd name="connsiteY3" fmla="*/ 6858000 h 6858000"/>
              <a:gd name="connsiteX4" fmla="*/ 4151783 w 6374506"/>
              <a:gd name="connsiteY4" fmla="*/ 6858000 h 6858000"/>
              <a:gd name="connsiteX5" fmla="*/ 4142258 w 6374506"/>
              <a:gd name="connsiteY5" fmla="*/ 6858000 h 6858000"/>
              <a:gd name="connsiteX6" fmla="*/ 0 w 637450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4506" h="6858000">
                <a:moveTo>
                  <a:pt x="0" y="0"/>
                </a:moveTo>
                <a:lnTo>
                  <a:pt x="4151783" y="0"/>
                </a:lnTo>
                <a:lnTo>
                  <a:pt x="4151783" y="5379552"/>
                </a:lnTo>
                <a:lnTo>
                  <a:pt x="6374506" y="6858000"/>
                </a:lnTo>
                <a:lnTo>
                  <a:pt x="4151783" y="6858000"/>
                </a:lnTo>
                <a:lnTo>
                  <a:pt x="414225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342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817" y="1265979"/>
            <a:ext cx="7272807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39816" y="919990"/>
            <a:ext cx="7272807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6642000"/>
            <a:ext cx="4068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361098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7 | Pink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9C008D8C-7E7C-009B-EA7E-91FA6075E85B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0" y="2888385"/>
            <a:ext cx="7164000" cy="3969615"/>
          </a:xfrm>
          <a:custGeom>
            <a:avLst/>
            <a:gdLst>
              <a:gd name="connsiteX0" fmla="*/ 1346892 w 1346892"/>
              <a:gd name="connsiteY0" fmla="*/ 0 h 1416121"/>
              <a:gd name="connsiteX1" fmla="*/ 0 w 1346892"/>
              <a:gd name="connsiteY1" fmla="*/ 0 h 1416121"/>
              <a:gd name="connsiteX2" fmla="*/ 0 w 1346892"/>
              <a:gd name="connsiteY2" fmla="*/ 5525 h 1416121"/>
              <a:gd name="connsiteX3" fmla="*/ 1341637 w 1346892"/>
              <a:gd name="connsiteY3" fmla="*/ 1416121 h 1416121"/>
              <a:gd name="connsiteX4" fmla="*/ 1346892 w 1346892"/>
              <a:gd name="connsiteY4" fmla="*/ 1416121 h 1416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892" h="1416121">
                <a:moveTo>
                  <a:pt x="1346892" y="0"/>
                </a:moveTo>
                <a:lnTo>
                  <a:pt x="0" y="0"/>
                </a:lnTo>
                <a:lnTo>
                  <a:pt x="0" y="5525"/>
                </a:lnTo>
                <a:lnTo>
                  <a:pt x="1341637" y="1416121"/>
                </a:lnTo>
                <a:lnTo>
                  <a:pt x="1346892" y="1416121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14D281ED-7F99-FE87-3E82-21C424F029FF}"/>
              </a:ext>
            </a:extLst>
          </p:cNvPr>
          <p:cNvSpPr/>
          <p:nvPr userDrawn="1"/>
        </p:nvSpPr>
        <p:spPr>
          <a:xfrm>
            <a:off x="11472000" y="1663340"/>
            <a:ext cx="720000" cy="3708000"/>
          </a:xfrm>
          <a:custGeom>
            <a:avLst/>
            <a:gdLst>
              <a:gd name="connsiteX0" fmla="*/ 0 w 720000"/>
              <a:gd name="connsiteY0" fmla="*/ 0 h 3608596"/>
              <a:gd name="connsiteX1" fmla="*/ 720000 w 720000"/>
              <a:gd name="connsiteY1" fmla="*/ 386517 h 3608596"/>
              <a:gd name="connsiteX2" fmla="*/ 720000 w 720000"/>
              <a:gd name="connsiteY2" fmla="*/ 3608596 h 3608596"/>
              <a:gd name="connsiteX3" fmla="*/ 0 w 720000"/>
              <a:gd name="connsiteY3" fmla="*/ 3191923 h 3608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0000" h="3608596">
                <a:moveTo>
                  <a:pt x="0" y="0"/>
                </a:moveTo>
                <a:lnTo>
                  <a:pt x="720000" y="386517"/>
                </a:lnTo>
                <a:lnTo>
                  <a:pt x="720000" y="3608596"/>
                </a:lnTo>
                <a:lnTo>
                  <a:pt x="0" y="3191923"/>
                </a:lnTo>
                <a:close/>
              </a:path>
            </a:pathLst>
          </a:custGeom>
          <a:solidFill>
            <a:srgbClr val="FF3E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A0C1AAEF-3792-A75F-1B36-45A594FD60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311" y="5391146"/>
            <a:ext cx="1925303" cy="1467343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029907E-F787-6280-39C1-4425B92C3A4B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6584965" y="708219"/>
            <a:ext cx="4896000" cy="4232309"/>
          </a:xfrm>
          <a:custGeom>
            <a:avLst/>
            <a:gdLst>
              <a:gd name="connsiteX0" fmla="*/ 0 w 4896000"/>
              <a:gd name="connsiteY0" fmla="*/ 0 h 4232309"/>
              <a:gd name="connsiteX1" fmla="*/ 3226524 w 4896000"/>
              <a:gd name="connsiteY1" fmla="*/ 0 h 4232309"/>
              <a:gd name="connsiteX2" fmla="*/ 4084900 w 4896000"/>
              <a:gd name="connsiteY2" fmla="*/ 493677 h 4232309"/>
              <a:gd name="connsiteX3" fmla="*/ 4896000 w 4896000"/>
              <a:gd name="connsiteY3" fmla="*/ 963071 h 4232309"/>
              <a:gd name="connsiteX4" fmla="*/ 4896000 w 4896000"/>
              <a:gd name="connsiteY4" fmla="*/ 4232309 h 4232309"/>
              <a:gd name="connsiteX5" fmla="*/ 0 w 4896000"/>
              <a:gd name="connsiteY5" fmla="*/ 4232309 h 4232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96000" h="4232309">
                <a:moveTo>
                  <a:pt x="0" y="0"/>
                </a:moveTo>
                <a:lnTo>
                  <a:pt x="3226524" y="0"/>
                </a:lnTo>
                <a:lnTo>
                  <a:pt x="4084900" y="493677"/>
                </a:lnTo>
                <a:lnTo>
                  <a:pt x="4896000" y="963071"/>
                </a:lnTo>
                <a:lnTo>
                  <a:pt x="4896000" y="4232309"/>
                </a:lnTo>
                <a:lnTo>
                  <a:pt x="0" y="4232309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txBody>
          <a:bodyPr wrap="square" lIns="0" tIns="0" bIns="756000" anchor="ctr" anchorCtr="1">
            <a:noAutofit/>
          </a:bodyPr>
          <a:lstStyle>
            <a:lvl1pPr marL="0" indent="0" algn="r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8978852F-2CDA-6608-6F99-C745F610E8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997" y="708219"/>
            <a:ext cx="5810003" cy="330537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6FA14A66-2032-C7A9-82E2-51F0AF16F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7" y="1038757"/>
            <a:ext cx="5810003" cy="390177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442D7171-567E-2BA7-CB48-CF0C636E02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00056" y="5013176"/>
            <a:ext cx="4896544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448798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Orange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FF441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25260" y="966418"/>
            <a:ext cx="2765857" cy="2107960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rgbClr val="FF4414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7054547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7 | Türkis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9C008D8C-7E7C-009B-EA7E-91FA6075E85B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0" y="2888385"/>
            <a:ext cx="7164000" cy="3969615"/>
          </a:xfrm>
          <a:custGeom>
            <a:avLst/>
            <a:gdLst>
              <a:gd name="connsiteX0" fmla="*/ 1346892 w 1346892"/>
              <a:gd name="connsiteY0" fmla="*/ 0 h 1416121"/>
              <a:gd name="connsiteX1" fmla="*/ 0 w 1346892"/>
              <a:gd name="connsiteY1" fmla="*/ 0 h 1416121"/>
              <a:gd name="connsiteX2" fmla="*/ 0 w 1346892"/>
              <a:gd name="connsiteY2" fmla="*/ 5525 h 1416121"/>
              <a:gd name="connsiteX3" fmla="*/ 1341637 w 1346892"/>
              <a:gd name="connsiteY3" fmla="*/ 1416121 h 1416121"/>
              <a:gd name="connsiteX4" fmla="*/ 1346892 w 1346892"/>
              <a:gd name="connsiteY4" fmla="*/ 1416121 h 1416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892" h="1416121">
                <a:moveTo>
                  <a:pt x="1346892" y="0"/>
                </a:moveTo>
                <a:lnTo>
                  <a:pt x="0" y="0"/>
                </a:lnTo>
                <a:lnTo>
                  <a:pt x="0" y="5525"/>
                </a:lnTo>
                <a:lnTo>
                  <a:pt x="1341637" y="1416121"/>
                </a:lnTo>
                <a:lnTo>
                  <a:pt x="1346892" y="1416121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14D281ED-7F99-FE87-3E82-21C424F029FF}"/>
              </a:ext>
            </a:extLst>
          </p:cNvPr>
          <p:cNvSpPr/>
          <p:nvPr userDrawn="1"/>
        </p:nvSpPr>
        <p:spPr>
          <a:xfrm>
            <a:off x="11472000" y="1663340"/>
            <a:ext cx="720000" cy="3708000"/>
          </a:xfrm>
          <a:custGeom>
            <a:avLst/>
            <a:gdLst>
              <a:gd name="connsiteX0" fmla="*/ 0 w 720000"/>
              <a:gd name="connsiteY0" fmla="*/ 0 h 3608596"/>
              <a:gd name="connsiteX1" fmla="*/ 720000 w 720000"/>
              <a:gd name="connsiteY1" fmla="*/ 386517 h 3608596"/>
              <a:gd name="connsiteX2" fmla="*/ 720000 w 720000"/>
              <a:gd name="connsiteY2" fmla="*/ 3608596 h 3608596"/>
              <a:gd name="connsiteX3" fmla="*/ 0 w 720000"/>
              <a:gd name="connsiteY3" fmla="*/ 3191923 h 3608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0000" h="3608596">
                <a:moveTo>
                  <a:pt x="0" y="0"/>
                </a:moveTo>
                <a:lnTo>
                  <a:pt x="720000" y="386517"/>
                </a:lnTo>
                <a:lnTo>
                  <a:pt x="720000" y="3608596"/>
                </a:lnTo>
                <a:lnTo>
                  <a:pt x="0" y="31919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A0C1AAEF-3792-A75F-1B36-45A594FD60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311" y="5391146"/>
            <a:ext cx="1925303" cy="1467342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029907E-F787-6280-39C1-4425B92C3A4B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6584965" y="708219"/>
            <a:ext cx="4896000" cy="4232309"/>
          </a:xfrm>
          <a:custGeom>
            <a:avLst/>
            <a:gdLst>
              <a:gd name="connsiteX0" fmla="*/ 0 w 4896000"/>
              <a:gd name="connsiteY0" fmla="*/ 0 h 4232309"/>
              <a:gd name="connsiteX1" fmla="*/ 3226524 w 4896000"/>
              <a:gd name="connsiteY1" fmla="*/ 0 h 4232309"/>
              <a:gd name="connsiteX2" fmla="*/ 4084900 w 4896000"/>
              <a:gd name="connsiteY2" fmla="*/ 493677 h 4232309"/>
              <a:gd name="connsiteX3" fmla="*/ 4896000 w 4896000"/>
              <a:gd name="connsiteY3" fmla="*/ 963071 h 4232309"/>
              <a:gd name="connsiteX4" fmla="*/ 4896000 w 4896000"/>
              <a:gd name="connsiteY4" fmla="*/ 4232309 h 4232309"/>
              <a:gd name="connsiteX5" fmla="*/ 0 w 4896000"/>
              <a:gd name="connsiteY5" fmla="*/ 4232309 h 4232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96000" h="4232309">
                <a:moveTo>
                  <a:pt x="0" y="0"/>
                </a:moveTo>
                <a:lnTo>
                  <a:pt x="3226524" y="0"/>
                </a:lnTo>
                <a:lnTo>
                  <a:pt x="4084900" y="493677"/>
                </a:lnTo>
                <a:lnTo>
                  <a:pt x="4896000" y="963071"/>
                </a:lnTo>
                <a:lnTo>
                  <a:pt x="4896000" y="4232309"/>
                </a:lnTo>
                <a:lnTo>
                  <a:pt x="0" y="4232309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txBody>
          <a:bodyPr wrap="square" lIns="0" tIns="0" bIns="756000" anchor="ctr" anchorCtr="1">
            <a:noAutofit/>
          </a:bodyPr>
          <a:lstStyle>
            <a:lvl1pPr marL="0" indent="0" algn="r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8978852F-2CDA-6608-6F99-C745F610E8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997" y="708219"/>
            <a:ext cx="5810003" cy="330537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6FA14A66-2032-C7A9-82E2-51F0AF16F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7" y="1038757"/>
            <a:ext cx="5810003" cy="390177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442D7171-567E-2BA7-CB48-CF0C636E02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00056" y="5013176"/>
            <a:ext cx="4896544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3881727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7 | Violett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9C008D8C-7E7C-009B-EA7E-91FA6075E85B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0" y="2888385"/>
            <a:ext cx="7164000" cy="3969615"/>
          </a:xfrm>
          <a:custGeom>
            <a:avLst/>
            <a:gdLst>
              <a:gd name="connsiteX0" fmla="*/ 1346892 w 1346892"/>
              <a:gd name="connsiteY0" fmla="*/ 0 h 1416121"/>
              <a:gd name="connsiteX1" fmla="*/ 0 w 1346892"/>
              <a:gd name="connsiteY1" fmla="*/ 0 h 1416121"/>
              <a:gd name="connsiteX2" fmla="*/ 0 w 1346892"/>
              <a:gd name="connsiteY2" fmla="*/ 5525 h 1416121"/>
              <a:gd name="connsiteX3" fmla="*/ 1341637 w 1346892"/>
              <a:gd name="connsiteY3" fmla="*/ 1416121 h 1416121"/>
              <a:gd name="connsiteX4" fmla="*/ 1346892 w 1346892"/>
              <a:gd name="connsiteY4" fmla="*/ 1416121 h 1416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892" h="1416121">
                <a:moveTo>
                  <a:pt x="1346892" y="0"/>
                </a:moveTo>
                <a:lnTo>
                  <a:pt x="0" y="0"/>
                </a:lnTo>
                <a:lnTo>
                  <a:pt x="0" y="5525"/>
                </a:lnTo>
                <a:lnTo>
                  <a:pt x="1341637" y="1416121"/>
                </a:lnTo>
                <a:lnTo>
                  <a:pt x="1346892" y="1416121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14D281ED-7F99-FE87-3E82-21C424F029FF}"/>
              </a:ext>
            </a:extLst>
          </p:cNvPr>
          <p:cNvSpPr/>
          <p:nvPr userDrawn="1"/>
        </p:nvSpPr>
        <p:spPr>
          <a:xfrm>
            <a:off x="11472000" y="1663340"/>
            <a:ext cx="720000" cy="3708000"/>
          </a:xfrm>
          <a:custGeom>
            <a:avLst/>
            <a:gdLst>
              <a:gd name="connsiteX0" fmla="*/ 0 w 720000"/>
              <a:gd name="connsiteY0" fmla="*/ 0 h 3608596"/>
              <a:gd name="connsiteX1" fmla="*/ 720000 w 720000"/>
              <a:gd name="connsiteY1" fmla="*/ 386517 h 3608596"/>
              <a:gd name="connsiteX2" fmla="*/ 720000 w 720000"/>
              <a:gd name="connsiteY2" fmla="*/ 3608596 h 3608596"/>
              <a:gd name="connsiteX3" fmla="*/ 0 w 720000"/>
              <a:gd name="connsiteY3" fmla="*/ 3191923 h 3608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0000" h="3608596">
                <a:moveTo>
                  <a:pt x="0" y="0"/>
                </a:moveTo>
                <a:lnTo>
                  <a:pt x="720000" y="386517"/>
                </a:lnTo>
                <a:lnTo>
                  <a:pt x="720000" y="3608596"/>
                </a:lnTo>
                <a:lnTo>
                  <a:pt x="0" y="3191923"/>
                </a:lnTo>
                <a:close/>
              </a:path>
            </a:pathLst>
          </a:custGeom>
          <a:solidFill>
            <a:srgbClr val="8C3E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A0C1AAEF-3792-A75F-1B36-45A594FD60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312" y="5391146"/>
            <a:ext cx="1925301" cy="1467341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8D2E784-2484-BA9B-7D3F-CE41A23834B6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6584965" y="708219"/>
            <a:ext cx="4896000" cy="4232309"/>
          </a:xfrm>
          <a:custGeom>
            <a:avLst/>
            <a:gdLst>
              <a:gd name="connsiteX0" fmla="*/ 0 w 4896000"/>
              <a:gd name="connsiteY0" fmla="*/ 0 h 4232309"/>
              <a:gd name="connsiteX1" fmla="*/ 3226524 w 4896000"/>
              <a:gd name="connsiteY1" fmla="*/ 0 h 4232309"/>
              <a:gd name="connsiteX2" fmla="*/ 4084900 w 4896000"/>
              <a:gd name="connsiteY2" fmla="*/ 493677 h 4232309"/>
              <a:gd name="connsiteX3" fmla="*/ 4896000 w 4896000"/>
              <a:gd name="connsiteY3" fmla="*/ 963071 h 4232309"/>
              <a:gd name="connsiteX4" fmla="*/ 4896000 w 4896000"/>
              <a:gd name="connsiteY4" fmla="*/ 4232309 h 4232309"/>
              <a:gd name="connsiteX5" fmla="*/ 0 w 4896000"/>
              <a:gd name="connsiteY5" fmla="*/ 4232309 h 4232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96000" h="4232309">
                <a:moveTo>
                  <a:pt x="0" y="0"/>
                </a:moveTo>
                <a:lnTo>
                  <a:pt x="3226524" y="0"/>
                </a:lnTo>
                <a:lnTo>
                  <a:pt x="4084900" y="493677"/>
                </a:lnTo>
                <a:lnTo>
                  <a:pt x="4896000" y="963071"/>
                </a:lnTo>
                <a:lnTo>
                  <a:pt x="4896000" y="4232309"/>
                </a:lnTo>
                <a:lnTo>
                  <a:pt x="0" y="4232309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txBody>
          <a:bodyPr wrap="square" lIns="0" tIns="0" bIns="756000" anchor="ctr" anchorCtr="1">
            <a:noAutofit/>
          </a:bodyPr>
          <a:lstStyle>
            <a:lvl1pPr marL="0" indent="0" algn="r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8978852F-2CDA-6608-6F99-C745F610E8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997" y="708219"/>
            <a:ext cx="5810003" cy="330537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6FA14A66-2032-C7A9-82E2-51F0AF16F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7" y="1038757"/>
            <a:ext cx="5810003" cy="390177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28FF4018-B73A-CD23-21A2-03E6C16E49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00056" y="5013176"/>
            <a:ext cx="4896544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083754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7 | Orange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9C008D8C-7E7C-009B-EA7E-91FA6075E85B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0" y="2888385"/>
            <a:ext cx="7164000" cy="3969615"/>
          </a:xfrm>
          <a:custGeom>
            <a:avLst/>
            <a:gdLst>
              <a:gd name="connsiteX0" fmla="*/ 1346892 w 1346892"/>
              <a:gd name="connsiteY0" fmla="*/ 0 h 1416121"/>
              <a:gd name="connsiteX1" fmla="*/ 0 w 1346892"/>
              <a:gd name="connsiteY1" fmla="*/ 0 h 1416121"/>
              <a:gd name="connsiteX2" fmla="*/ 0 w 1346892"/>
              <a:gd name="connsiteY2" fmla="*/ 5525 h 1416121"/>
              <a:gd name="connsiteX3" fmla="*/ 1341637 w 1346892"/>
              <a:gd name="connsiteY3" fmla="*/ 1416121 h 1416121"/>
              <a:gd name="connsiteX4" fmla="*/ 1346892 w 1346892"/>
              <a:gd name="connsiteY4" fmla="*/ 1416121 h 1416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892" h="1416121">
                <a:moveTo>
                  <a:pt x="1346892" y="0"/>
                </a:moveTo>
                <a:lnTo>
                  <a:pt x="0" y="0"/>
                </a:lnTo>
                <a:lnTo>
                  <a:pt x="0" y="5525"/>
                </a:lnTo>
                <a:lnTo>
                  <a:pt x="1341637" y="1416121"/>
                </a:lnTo>
                <a:lnTo>
                  <a:pt x="1346892" y="1416121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14D281ED-7F99-FE87-3E82-21C424F029FF}"/>
              </a:ext>
            </a:extLst>
          </p:cNvPr>
          <p:cNvSpPr/>
          <p:nvPr userDrawn="1"/>
        </p:nvSpPr>
        <p:spPr>
          <a:xfrm>
            <a:off x="11472000" y="1663340"/>
            <a:ext cx="720000" cy="3708000"/>
          </a:xfrm>
          <a:custGeom>
            <a:avLst/>
            <a:gdLst>
              <a:gd name="connsiteX0" fmla="*/ 0 w 720000"/>
              <a:gd name="connsiteY0" fmla="*/ 0 h 3608596"/>
              <a:gd name="connsiteX1" fmla="*/ 720000 w 720000"/>
              <a:gd name="connsiteY1" fmla="*/ 386517 h 3608596"/>
              <a:gd name="connsiteX2" fmla="*/ 720000 w 720000"/>
              <a:gd name="connsiteY2" fmla="*/ 3608596 h 3608596"/>
              <a:gd name="connsiteX3" fmla="*/ 0 w 720000"/>
              <a:gd name="connsiteY3" fmla="*/ 3191923 h 3608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0000" h="3608596">
                <a:moveTo>
                  <a:pt x="0" y="0"/>
                </a:moveTo>
                <a:lnTo>
                  <a:pt x="720000" y="386517"/>
                </a:lnTo>
                <a:lnTo>
                  <a:pt x="720000" y="3608596"/>
                </a:lnTo>
                <a:lnTo>
                  <a:pt x="0" y="3191923"/>
                </a:lnTo>
                <a:close/>
              </a:path>
            </a:pathLst>
          </a:custGeom>
          <a:solidFill>
            <a:srgbClr val="FF441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A0C1AAEF-3792-A75F-1B36-45A594FD60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312" y="5391146"/>
            <a:ext cx="1925300" cy="1467341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8D2E784-2484-BA9B-7D3F-CE41A23834B6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6584965" y="708219"/>
            <a:ext cx="4896000" cy="4232309"/>
          </a:xfrm>
          <a:custGeom>
            <a:avLst/>
            <a:gdLst>
              <a:gd name="connsiteX0" fmla="*/ 0 w 4896000"/>
              <a:gd name="connsiteY0" fmla="*/ 0 h 4232309"/>
              <a:gd name="connsiteX1" fmla="*/ 3226524 w 4896000"/>
              <a:gd name="connsiteY1" fmla="*/ 0 h 4232309"/>
              <a:gd name="connsiteX2" fmla="*/ 4084900 w 4896000"/>
              <a:gd name="connsiteY2" fmla="*/ 493677 h 4232309"/>
              <a:gd name="connsiteX3" fmla="*/ 4896000 w 4896000"/>
              <a:gd name="connsiteY3" fmla="*/ 963071 h 4232309"/>
              <a:gd name="connsiteX4" fmla="*/ 4896000 w 4896000"/>
              <a:gd name="connsiteY4" fmla="*/ 4232309 h 4232309"/>
              <a:gd name="connsiteX5" fmla="*/ 0 w 4896000"/>
              <a:gd name="connsiteY5" fmla="*/ 4232309 h 4232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96000" h="4232309">
                <a:moveTo>
                  <a:pt x="0" y="0"/>
                </a:moveTo>
                <a:lnTo>
                  <a:pt x="3226524" y="0"/>
                </a:lnTo>
                <a:lnTo>
                  <a:pt x="4084900" y="493677"/>
                </a:lnTo>
                <a:lnTo>
                  <a:pt x="4896000" y="963071"/>
                </a:lnTo>
                <a:lnTo>
                  <a:pt x="4896000" y="4232309"/>
                </a:lnTo>
                <a:lnTo>
                  <a:pt x="0" y="4232309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txBody>
          <a:bodyPr wrap="square" lIns="0" tIns="0" bIns="756000" anchor="ctr" anchorCtr="1">
            <a:noAutofit/>
          </a:bodyPr>
          <a:lstStyle>
            <a:lvl1pPr marL="0" indent="0" algn="r">
              <a:buNone/>
              <a:defRPr b="1">
                <a:solidFill>
                  <a:schemeClr val="accent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8978852F-2CDA-6608-6F99-C745F610E8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997" y="708219"/>
            <a:ext cx="5810003" cy="330537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6FA14A66-2032-C7A9-82E2-51F0AF16F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7" y="1038757"/>
            <a:ext cx="5810003" cy="390177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28FF4018-B73A-CD23-21A2-03E6C16E49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00056" y="5013176"/>
            <a:ext cx="4896544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208369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7 | Grün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9C008D8C-7E7C-009B-EA7E-91FA6075E85B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0" y="2888385"/>
            <a:ext cx="7164000" cy="3969615"/>
          </a:xfrm>
          <a:custGeom>
            <a:avLst/>
            <a:gdLst>
              <a:gd name="connsiteX0" fmla="*/ 1346892 w 1346892"/>
              <a:gd name="connsiteY0" fmla="*/ 0 h 1416121"/>
              <a:gd name="connsiteX1" fmla="*/ 0 w 1346892"/>
              <a:gd name="connsiteY1" fmla="*/ 0 h 1416121"/>
              <a:gd name="connsiteX2" fmla="*/ 0 w 1346892"/>
              <a:gd name="connsiteY2" fmla="*/ 5525 h 1416121"/>
              <a:gd name="connsiteX3" fmla="*/ 1341637 w 1346892"/>
              <a:gd name="connsiteY3" fmla="*/ 1416121 h 1416121"/>
              <a:gd name="connsiteX4" fmla="*/ 1346892 w 1346892"/>
              <a:gd name="connsiteY4" fmla="*/ 1416121 h 1416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892" h="1416121">
                <a:moveTo>
                  <a:pt x="1346892" y="0"/>
                </a:moveTo>
                <a:lnTo>
                  <a:pt x="0" y="0"/>
                </a:lnTo>
                <a:lnTo>
                  <a:pt x="0" y="5525"/>
                </a:lnTo>
                <a:lnTo>
                  <a:pt x="1341637" y="1416121"/>
                </a:lnTo>
                <a:lnTo>
                  <a:pt x="1346892" y="1416121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14D281ED-7F99-FE87-3E82-21C424F029FF}"/>
              </a:ext>
            </a:extLst>
          </p:cNvPr>
          <p:cNvSpPr/>
          <p:nvPr userDrawn="1"/>
        </p:nvSpPr>
        <p:spPr>
          <a:xfrm>
            <a:off x="11472000" y="1663340"/>
            <a:ext cx="720000" cy="3708000"/>
          </a:xfrm>
          <a:custGeom>
            <a:avLst/>
            <a:gdLst>
              <a:gd name="connsiteX0" fmla="*/ 0 w 720000"/>
              <a:gd name="connsiteY0" fmla="*/ 0 h 3608596"/>
              <a:gd name="connsiteX1" fmla="*/ 720000 w 720000"/>
              <a:gd name="connsiteY1" fmla="*/ 386517 h 3608596"/>
              <a:gd name="connsiteX2" fmla="*/ 720000 w 720000"/>
              <a:gd name="connsiteY2" fmla="*/ 3608596 h 3608596"/>
              <a:gd name="connsiteX3" fmla="*/ 0 w 720000"/>
              <a:gd name="connsiteY3" fmla="*/ 3191923 h 3608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0000" h="3608596">
                <a:moveTo>
                  <a:pt x="0" y="0"/>
                </a:moveTo>
                <a:lnTo>
                  <a:pt x="720000" y="386517"/>
                </a:lnTo>
                <a:lnTo>
                  <a:pt x="720000" y="3608596"/>
                </a:lnTo>
                <a:lnTo>
                  <a:pt x="0" y="319192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A0C1AAEF-3792-A75F-1B36-45A594FD60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312" y="5391146"/>
            <a:ext cx="1925301" cy="1467342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8D2E784-2484-BA9B-7D3F-CE41A23834B6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6584965" y="708219"/>
            <a:ext cx="4896000" cy="4232309"/>
          </a:xfrm>
          <a:custGeom>
            <a:avLst/>
            <a:gdLst>
              <a:gd name="connsiteX0" fmla="*/ 0 w 4896000"/>
              <a:gd name="connsiteY0" fmla="*/ 0 h 4232309"/>
              <a:gd name="connsiteX1" fmla="*/ 3226524 w 4896000"/>
              <a:gd name="connsiteY1" fmla="*/ 0 h 4232309"/>
              <a:gd name="connsiteX2" fmla="*/ 4084900 w 4896000"/>
              <a:gd name="connsiteY2" fmla="*/ 493677 h 4232309"/>
              <a:gd name="connsiteX3" fmla="*/ 4896000 w 4896000"/>
              <a:gd name="connsiteY3" fmla="*/ 963071 h 4232309"/>
              <a:gd name="connsiteX4" fmla="*/ 4896000 w 4896000"/>
              <a:gd name="connsiteY4" fmla="*/ 4232309 h 4232309"/>
              <a:gd name="connsiteX5" fmla="*/ 0 w 4896000"/>
              <a:gd name="connsiteY5" fmla="*/ 4232309 h 4232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96000" h="4232309">
                <a:moveTo>
                  <a:pt x="0" y="0"/>
                </a:moveTo>
                <a:lnTo>
                  <a:pt x="3226524" y="0"/>
                </a:lnTo>
                <a:lnTo>
                  <a:pt x="4084900" y="493677"/>
                </a:lnTo>
                <a:lnTo>
                  <a:pt x="4896000" y="963071"/>
                </a:lnTo>
                <a:lnTo>
                  <a:pt x="4896000" y="4232309"/>
                </a:lnTo>
                <a:lnTo>
                  <a:pt x="0" y="4232309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txBody>
          <a:bodyPr wrap="square" lIns="0" tIns="0" bIns="756000" anchor="ctr" anchorCtr="1">
            <a:noAutofit/>
          </a:bodyPr>
          <a:lstStyle>
            <a:lvl1pPr marL="0" indent="0" algn="r">
              <a:buNone/>
              <a:defRPr b="1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8978852F-2CDA-6608-6F99-C745F610E8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997" y="708219"/>
            <a:ext cx="5810003" cy="330537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6FA14A66-2032-C7A9-82E2-51F0AF16F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7" y="1038757"/>
            <a:ext cx="5810003" cy="390177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28FF4018-B73A-CD23-21A2-03E6C16E49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00056" y="5013176"/>
            <a:ext cx="4896544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4191766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8 | Pink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Schleife">
            <a:extLst>
              <a:ext uri="{FF2B5EF4-FFF2-40B4-BE49-F238E27FC236}">
                <a16:creationId xmlns:a16="http://schemas.microsoft.com/office/drawing/2014/main" id="{31145FDB-8AA6-DDF5-89D6-B5C15303B0F3}"/>
              </a:ext>
            </a:extLst>
          </p:cNvPr>
          <p:cNvGrpSpPr/>
          <p:nvPr userDrawn="1"/>
        </p:nvGrpSpPr>
        <p:grpSpPr>
          <a:xfrm>
            <a:off x="-287109" y="1725718"/>
            <a:ext cx="12759254" cy="5197843"/>
            <a:chOff x="-287109" y="1725718"/>
            <a:chExt cx="12759254" cy="5197843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FFFEF12F-1FA7-331E-DC41-470BEC379232}"/>
                </a:ext>
              </a:extLst>
            </p:cNvPr>
            <p:cNvSpPr/>
            <p:nvPr userDrawn="1"/>
          </p:nvSpPr>
          <p:spPr>
            <a:xfrm rot="4833082" flipV="1">
              <a:off x="9987146" y="2513454"/>
              <a:ext cx="3272735" cy="1697263"/>
            </a:xfrm>
            <a:custGeom>
              <a:avLst/>
              <a:gdLst>
                <a:gd name="connsiteX0" fmla="*/ 0 w 3272735"/>
                <a:gd name="connsiteY0" fmla="*/ 1697263 h 1697263"/>
                <a:gd name="connsiteX1" fmla="*/ 3010606 w 3272735"/>
                <a:gd name="connsiteY1" fmla="*/ 1196235 h 1697263"/>
                <a:gd name="connsiteX2" fmla="*/ 3272735 w 3272735"/>
                <a:gd name="connsiteY2" fmla="*/ 0 h 1697263"/>
                <a:gd name="connsiteX3" fmla="*/ 262129 w 3272735"/>
                <a:gd name="connsiteY3" fmla="*/ 501028 h 169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2735" h="1697263">
                  <a:moveTo>
                    <a:pt x="0" y="1697263"/>
                  </a:moveTo>
                  <a:lnTo>
                    <a:pt x="3010606" y="1196235"/>
                  </a:lnTo>
                  <a:lnTo>
                    <a:pt x="3272735" y="0"/>
                  </a:lnTo>
                  <a:lnTo>
                    <a:pt x="262129" y="501028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F6156A9-05DE-88C1-5DA8-6988FCF38567}"/>
                </a:ext>
              </a:extLst>
            </p:cNvPr>
            <p:cNvSpPr/>
            <p:nvPr userDrawn="1"/>
          </p:nvSpPr>
          <p:spPr>
            <a:xfrm rot="4833082" flipV="1">
              <a:off x="1326358" y="1031755"/>
              <a:ext cx="4278339" cy="7505274"/>
            </a:xfrm>
            <a:custGeom>
              <a:avLst/>
              <a:gdLst>
                <a:gd name="connsiteX0" fmla="*/ 0 w 4278339"/>
                <a:gd name="connsiteY0" fmla="*/ 7505274 h 7505274"/>
                <a:gd name="connsiteX1" fmla="*/ 3637449 w 4278339"/>
                <a:gd name="connsiteY1" fmla="*/ 6899927 h 7505274"/>
                <a:gd name="connsiteX2" fmla="*/ 4278339 w 4278339"/>
                <a:gd name="connsiteY2" fmla="*/ 3975204 h 7505274"/>
                <a:gd name="connsiteX3" fmla="*/ 3616781 w 4278339"/>
                <a:gd name="connsiteY3" fmla="*/ 0 h 7505274"/>
                <a:gd name="connsiteX4" fmla="*/ 1569977 w 4278339"/>
                <a:gd name="connsiteY4" fmla="*/ 340631 h 750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8339" h="7505274">
                  <a:moveTo>
                    <a:pt x="0" y="7505274"/>
                  </a:moveTo>
                  <a:lnTo>
                    <a:pt x="3637449" y="6899927"/>
                  </a:lnTo>
                  <a:lnTo>
                    <a:pt x="4278339" y="3975204"/>
                  </a:lnTo>
                  <a:lnTo>
                    <a:pt x="3616781" y="0"/>
                  </a:lnTo>
                  <a:lnTo>
                    <a:pt x="1569977" y="340631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2" name="Logo">
            <a:extLst>
              <a:ext uri="{FF2B5EF4-FFF2-40B4-BE49-F238E27FC236}">
                <a16:creationId xmlns:a16="http://schemas.microsoft.com/office/drawing/2014/main" id="{57486061-ED53-C581-7334-5F4C9DC218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312" y="5391146"/>
            <a:ext cx="1925301" cy="1467342"/>
          </a:xfrm>
          <a:prstGeom prst="rect">
            <a:avLst/>
          </a:prstGeom>
        </p:spPr>
      </p:pic>
      <p:sp>
        <p:nvSpPr>
          <p:cNvPr id="12" name="Bild-Platzhalter">
            <a:extLst>
              <a:ext uri="{FF2B5EF4-FFF2-40B4-BE49-F238E27FC236}">
                <a16:creationId xmlns:a16="http://schemas.microsoft.com/office/drawing/2014/main" id="{33B82A46-DCA0-A941-D0DC-81F8C7217E86}"/>
              </a:ext>
            </a:extLst>
          </p:cNvPr>
          <p:cNvSpPr>
            <a:spLocks noGrp="1" noChangeAspect="1"/>
          </p:cNvSpPr>
          <p:nvPr userDrawn="1">
            <p:ph type="pic" sz="quarter" idx="10" hasCustomPrompt="1"/>
          </p:nvPr>
        </p:nvSpPr>
        <p:spPr>
          <a:xfrm>
            <a:off x="6816080" y="2060848"/>
            <a:ext cx="4248472" cy="3672558"/>
          </a:xfrm>
          <a:custGeom>
            <a:avLst/>
            <a:gdLst>
              <a:gd name="connsiteX0" fmla="*/ 0 w 4248472"/>
              <a:gd name="connsiteY0" fmla="*/ 0 h 3672558"/>
              <a:gd name="connsiteX1" fmla="*/ 4248472 w 4248472"/>
              <a:gd name="connsiteY1" fmla="*/ 0 h 3672558"/>
              <a:gd name="connsiteX2" fmla="*/ 4248472 w 4248472"/>
              <a:gd name="connsiteY2" fmla="*/ 3050907 h 3672558"/>
              <a:gd name="connsiteX3" fmla="*/ 2694895 w 4248472"/>
              <a:gd name="connsiteY3" fmla="*/ 3672558 h 3672558"/>
              <a:gd name="connsiteX4" fmla="*/ 0 w 4248472"/>
              <a:gd name="connsiteY4" fmla="*/ 3672558 h 3672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472" h="3672558">
                <a:moveTo>
                  <a:pt x="0" y="0"/>
                </a:moveTo>
                <a:lnTo>
                  <a:pt x="4248472" y="0"/>
                </a:lnTo>
                <a:lnTo>
                  <a:pt x="4248472" y="3050907"/>
                </a:lnTo>
                <a:lnTo>
                  <a:pt x="2694895" y="3672558"/>
                </a:lnTo>
                <a:lnTo>
                  <a:pt x="0" y="3672558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txBody>
          <a:bodyPr wrap="square" lIns="0" tIns="0" bIns="756000" anchor="ctr" anchorCtr="1">
            <a:noAutofit/>
          </a:bodyPr>
          <a:lstStyle>
            <a:lvl1pPr marL="0" indent="0" algn="r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6FA14A66-2032-C7A9-82E2-51F0AF16F92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9997" y="787737"/>
            <a:ext cx="5810003" cy="390177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ie">
            <a:extLst>
              <a:ext uri="{FF2B5EF4-FFF2-40B4-BE49-F238E27FC236}">
                <a16:creationId xmlns:a16="http://schemas.microsoft.com/office/drawing/2014/main" id="{8978852F-2CDA-6608-6F99-C745F610E84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39997" y="485774"/>
            <a:ext cx="5810003" cy="330537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32D19F0A-0CEF-1171-86C8-596FFDE5A5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6080" y="5751186"/>
            <a:ext cx="4248472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422519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8 | Türkis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Schleife">
            <a:extLst>
              <a:ext uri="{FF2B5EF4-FFF2-40B4-BE49-F238E27FC236}">
                <a16:creationId xmlns:a16="http://schemas.microsoft.com/office/drawing/2014/main" id="{31145FDB-8AA6-DDF5-89D6-B5C15303B0F3}"/>
              </a:ext>
            </a:extLst>
          </p:cNvPr>
          <p:cNvGrpSpPr/>
          <p:nvPr userDrawn="1"/>
        </p:nvGrpSpPr>
        <p:grpSpPr>
          <a:xfrm>
            <a:off x="-287109" y="1725718"/>
            <a:ext cx="12759254" cy="5197843"/>
            <a:chOff x="-287109" y="1725718"/>
            <a:chExt cx="12759254" cy="5197843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FFFEF12F-1FA7-331E-DC41-470BEC379232}"/>
                </a:ext>
              </a:extLst>
            </p:cNvPr>
            <p:cNvSpPr/>
            <p:nvPr userDrawn="1"/>
          </p:nvSpPr>
          <p:spPr>
            <a:xfrm rot="4833082" flipV="1">
              <a:off x="9987146" y="2513454"/>
              <a:ext cx="3272735" cy="1697263"/>
            </a:xfrm>
            <a:custGeom>
              <a:avLst/>
              <a:gdLst>
                <a:gd name="connsiteX0" fmla="*/ 0 w 3272735"/>
                <a:gd name="connsiteY0" fmla="*/ 1697263 h 1697263"/>
                <a:gd name="connsiteX1" fmla="*/ 3010606 w 3272735"/>
                <a:gd name="connsiteY1" fmla="*/ 1196235 h 1697263"/>
                <a:gd name="connsiteX2" fmla="*/ 3272735 w 3272735"/>
                <a:gd name="connsiteY2" fmla="*/ 0 h 1697263"/>
                <a:gd name="connsiteX3" fmla="*/ 262129 w 3272735"/>
                <a:gd name="connsiteY3" fmla="*/ 501028 h 169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2735" h="1697263">
                  <a:moveTo>
                    <a:pt x="0" y="1697263"/>
                  </a:moveTo>
                  <a:lnTo>
                    <a:pt x="3010606" y="1196235"/>
                  </a:lnTo>
                  <a:lnTo>
                    <a:pt x="3272735" y="0"/>
                  </a:lnTo>
                  <a:lnTo>
                    <a:pt x="262129" y="501028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F6156A9-05DE-88C1-5DA8-6988FCF38567}"/>
                </a:ext>
              </a:extLst>
            </p:cNvPr>
            <p:cNvSpPr/>
            <p:nvPr userDrawn="1"/>
          </p:nvSpPr>
          <p:spPr>
            <a:xfrm rot="4833082" flipV="1">
              <a:off x="1326358" y="1031755"/>
              <a:ext cx="4278339" cy="7505274"/>
            </a:xfrm>
            <a:custGeom>
              <a:avLst/>
              <a:gdLst>
                <a:gd name="connsiteX0" fmla="*/ 0 w 4278339"/>
                <a:gd name="connsiteY0" fmla="*/ 7505274 h 7505274"/>
                <a:gd name="connsiteX1" fmla="*/ 3637449 w 4278339"/>
                <a:gd name="connsiteY1" fmla="*/ 6899927 h 7505274"/>
                <a:gd name="connsiteX2" fmla="*/ 4278339 w 4278339"/>
                <a:gd name="connsiteY2" fmla="*/ 3975204 h 7505274"/>
                <a:gd name="connsiteX3" fmla="*/ 3616781 w 4278339"/>
                <a:gd name="connsiteY3" fmla="*/ 0 h 7505274"/>
                <a:gd name="connsiteX4" fmla="*/ 1569977 w 4278339"/>
                <a:gd name="connsiteY4" fmla="*/ 340631 h 750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8339" h="7505274">
                  <a:moveTo>
                    <a:pt x="0" y="7505274"/>
                  </a:moveTo>
                  <a:lnTo>
                    <a:pt x="3637449" y="6899927"/>
                  </a:lnTo>
                  <a:lnTo>
                    <a:pt x="4278339" y="3975204"/>
                  </a:lnTo>
                  <a:lnTo>
                    <a:pt x="3616781" y="0"/>
                  </a:lnTo>
                  <a:lnTo>
                    <a:pt x="1569977" y="340631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2" name="Logo">
            <a:extLst>
              <a:ext uri="{FF2B5EF4-FFF2-40B4-BE49-F238E27FC236}">
                <a16:creationId xmlns:a16="http://schemas.microsoft.com/office/drawing/2014/main" id="{57486061-ED53-C581-7334-5F4C9DC218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312" y="5391146"/>
            <a:ext cx="1925301" cy="1467341"/>
          </a:xfrm>
          <a:prstGeom prst="rect">
            <a:avLst/>
          </a:prstGeom>
        </p:spPr>
      </p:pic>
      <p:sp>
        <p:nvSpPr>
          <p:cNvPr id="12" name="Bild-Platzhalter">
            <a:extLst>
              <a:ext uri="{FF2B5EF4-FFF2-40B4-BE49-F238E27FC236}">
                <a16:creationId xmlns:a16="http://schemas.microsoft.com/office/drawing/2014/main" id="{33B82A46-DCA0-A941-D0DC-81F8C7217E86}"/>
              </a:ext>
            </a:extLst>
          </p:cNvPr>
          <p:cNvSpPr>
            <a:spLocks noGrp="1" noChangeAspect="1"/>
          </p:cNvSpPr>
          <p:nvPr userDrawn="1">
            <p:ph type="pic" sz="quarter" idx="10" hasCustomPrompt="1"/>
          </p:nvPr>
        </p:nvSpPr>
        <p:spPr>
          <a:xfrm>
            <a:off x="6816080" y="2060848"/>
            <a:ext cx="4248472" cy="3672558"/>
          </a:xfrm>
          <a:custGeom>
            <a:avLst/>
            <a:gdLst>
              <a:gd name="connsiteX0" fmla="*/ 0 w 4248472"/>
              <a:gd name="connsiteY0" fmla="*/ 0 h 3672558"/>
              <a:gd name="connsiteX1" fmla="*/ 4248472 w 4248472"/>
              <a:gd name="connsiteY1" fmla="*/ 0 h 3672558"/>
              <a:gd name="connsiteX2" fmla="*/ 4248472 w 4248472"/>
              <a:gd name="connsiteY2" fmla="*/ 3050907 h 3672558"/>
              <a:gd name="connsiteX3" fmla="*/ 2694895 w 4248472"/>
              <a:gd name="connsiteY3" fmla="*/ 3672558 h 3672558"/>
              <a:gd name="connsiteX4" fmla="*/ 0 w 4248472"/>
              <a:gd name="connsiteY4" fmla="*/ 3672558 h 3672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472" h="3672558">
                <a:moveTo>
                  <a:pt x="0" y="0"/>
                </a:moveTo>
                <a:lnTo>
                  <a:pt x="4248472" y="0"/>
                </a:lnTo>
                <a:lnTo>
                  <a:pt x="4248472" y="3050907"/>
                </a:lnTo>
                <a:lnTo>
                  <a:pt x="2694895" y="3672558"/>
                </a:lnTo>
                <a:lnTo>
                  <a:pt x="0" y="3672558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txBody>
          <a:bodyPr wrap="square" lIns="0" tIns="0" bIns="756000" anchor="ctr" anchorCtr="1">
            <a:noAutofit/>
          </a:bodyPr>
          <a:lstStyle>
            <a:lvl1pPr marL="0" indent="0" algn="r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6FA14A66-2032-C7A9-82E2-51F0AF16F92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9997" y="787737"/>
            <a:ext cx="5810003" cy="390177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ie">
            <a:extLst>
              <a:ext uri="{FF2B5EF4-FFF2-40B4-BE49-F238E27FC236}">
                <a16:creationId xmlns:a16="http://schemas.microsoft.com/office/drawing/2014/main" id="{8978852F-2CDA-6608-6F99-C745F610E84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47874" y="457200"/>
            <a:ext cx="5810003" cy="330537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32D19F0A-0CEF-1171-86C8-596FFDE5A5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6080" y="5751186"/>
            <a:ext cx="4248472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7086447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8 | Violett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Schleife">
            <a:extLst>
              <a:ext uri="{FF2B5EF4-FFF2-40B4-BE49-F238E27FC236}">
                <a16:creationId xmlns:a16="http://schemas.microsoft.com/office/drawing/2014/main" id="{31145FDB-8AA6-DDF5-89D6-B5C15303B0F3}"/>
              </a:ext>
            </a:extLst>
          </p:cNvPr>
          <p:cNvGrpSpPr/>
          <p:nvPr userDrawn="1"/>
        </p:nvGrpSpPr>
        <p:grpSpPr>
          <a:xfrm>
            <a:off x="-287109" y="1725718"/>
            <a:ext cx="12759254" cy="5197843"/>
            <a:chOff x="-287109" y="1725718"/>
            <a:chExt cx="12759254" cy="5197843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FFFEF12F-1FA7-331E-DC41-470BEC379232}"/>
                </a:ext>
              </a:extLst>
            </p:cNvPr>
            <p:cNvSpPr/>
            <p:nvPr userDrawn="1"/>
          </p:nvSpPr>
          <p:spPr>
            <a:xfrm rot="4833082" flipV="1">
              <a:off x="9987146" y="2513454"/>
              <a:ext cx="3272735" cy="1697263"/>
            </a:xfrm>
            <a:custGeom>
              <a:avLst/>
              <a:gdLst>
                <a:gd name="connsiteX0" fmla="*/ 0 w 3272735"/>
                <a:gd name="connsiteY0" fmla="*/ 1697263 h 1697263"/>
                <a:gd name="connsiteX1" fmla="*/ 3010606 w 3272735"/>
                <a:gd name="connsiteY1" fmla="*/ 1196235 h 1697263"/>
                <a:gd name="connsiteX2" fmla="*/ 3272735 w 3272735"/>
                <a:gd name="connsiteY2" fmla="*/ 0 h 1697263"/>
                <a:gd name="connsiteX3" fmla="*/ 262129 w 3272735"/>
                <a:gd name="connsiteY3" fmla="*/ 501028 h 169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2735" h="1697263">
                  <a:moveTo>
                    <a:pt x="0" y="1697263"/>
                  </a:moveTo>
                  <a:lnTo>
                    <a:pt x="3010606" y="1196235"/>
                  </a:lnTo>
                  <a:lnTo>
                    <a:pt x="3272735" y="0"/>
                  </a:lnTo>
                  <a:lnTo>
                    <a:pt x="262129" y="501028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F6156A9-05DE-88C1-5DA8-6988FCF38567}"/>
                </a:ext>
              </a:extLst>
            </p:cNvPr>
            <p:cNvSpPr/>
            <p:nvPr userDrawn="1"/>
          </p:nvSpPr>
          <p:spPr>
            <a:xfrm rot="4833082" flipV="1">
              <a:off x="1326358" y="1031755"/>
              <a:ext cx="4278339" cy="7505274"/>
            </a:xfrm>
            <a:custGeom>
              <a:avLst/>
              <a:gdLst>
                <a:gd name="connsiteX0" fmla="*/ 0 w 4278339"/>
                <a:gd name="connsiteY0" fmla="*/ 7505274 h 7505274"/>
                <a:gd name="connsiteX1" fmla="*/ 3637449 w 4278339"/>
                <a:gd name="connsiteY1" fmla="*/ 6899927 h 7505274"/>
                <a:gd name="connsiteX2" fmla="*/ 4278339 w 4278339"/>
                <a:gd name="connsiteY2" fmla="*/ 3975204 h 7505274"/>
                <a:gd name="connsiteX3" fmla="*/ 3616781 w 4278339"/>
                <a:gd name="connsiteY3" fmla="*/ 0 h 7505274"/>
                <a:gd name="connsiteX4" fmla="*/ 1569977 w 4278339"/>
                <a:gd name="connsiteY4" fmla="*/ 340631 h 750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8339" h="7505274">
                  <a:moveTo>
                    <a:pt x="0" y="7505274"/>
                  </a:moveTo>
                  <a:lnTo>
                    <a:pt x="3637449" y="6899927"/>
                  </a:lnTo>
                  <a:lnTo>
                    <a:pt x="4278339" y="3975204"/>
                  </a:lnTo>
                  <a:lnTo>
                    <a:pt x="3616781" y="0"/>
                  </a:lnTo>
                  <a:lnTo>
                    <a:pt x="1569977" y="340631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2" name="Logo">
            <a:extLst>
              <a:ext uri="{FF2B5EF4-FFF2-40B4-BE49-F238E27FC236}">
                <a16:creationId xmlns:a16="http://schemas.microsoft.com/office/drawing/2014/main" id="{57486061-ED53-C581-7334-5F4C9DC218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312" y="5391146"/>
            <a:ext cx="1925301" cy="1467342"/>
          </a:xfrm>
          <a:prstGeom prst="rect">
            <a:avLst/>
          </a:prstGeom>
        </p:spPr>
      </p:pic>
      <p:sp>
        <p:nvSpPr>
          <p:cNvPr id="12" name="Bild-Platzhalter">
            <a:extLst>
              <a:ext uri="{FF2B5EF4-FFF2-40B4-BE49-F238E27FC236}">
                <a16:creationId xmlns:a16="http://schemas.microsoft.com/office/drawing/2014/main" id="{33B82A46-DCA0-A941-D0DC-81F8C7217E86}"/>
              </a:ext>
            </a:extLst>
          </p:cNvPr>
          <p:cNvSpPr>
            <a:spLocks noGrp="1" noChangeAspect="1"/>
          </p:cNvSpPr>
          <p:nvPr userDrawn="1">
            <p:ph type="pic" sz="quarter" idx="10" hasCustomPrompt="1"/>
          </p:nvPr>
        </p:nvSpPr>
        <p:spPr>
          <a:xfrm>
            <a:off x="6816080" y="2060848"/>
            <a:ext cx="4248472" cy="3672558"/>
          </a:xfrm>
          <a:custGeom>
            <a:avLst/>
            <a:gdLst>
              <a:gd name="connsiteX0" fmla="*/ 0 w 4248472"/>
              <a:gd name="connsiteY0" fmla="*/ 0 h 3672558"/>
              <a:gd name="connsiteX1" fmla="*/ 4248472 w 4248472"/>
              <a:gd name="connsiteY1" fmla="*/ 0 h 3672558"/>
              <a:gd name="connsiteX2" fmla="*/ 4248472 w 4248472"/>
              <a:gd name="connsiteY2" fmla="*/ 3050907 h 3672558"/>
              <a:gd name="connsiteX3" fmla="*/ 2694895 w 4248472"/>
              <a:gd name="connsiteY3" fmla="*/ 3672558 h 3672558"/>
              <a:gd name="connsiteX4" fmla="*/ 0 w 4248472"/>
              <a:gd name="connsiteY4" fmla="*/ 3672558 h 3672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472" h="3672558">
                <a:moveTo>
                  <a:pt x="0" y="0"/>
                </a:moveTo>
                <a:lnTo>
                  <a:pt x="4248472" y="0"/>
                </a:lnTo>
                <a:lnTo>
                  <a:pt x="4248472" y="3050907"/>
                </a:lnTo>
                <a:lnTo>
                  <a:pt x="2694895" y="3672558"/>
                </a:lnTo>
                <a:lnTo>
                  <a:pt x="0" y="3672558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txBody>
          <a:bodyPr wrap="square" lIns="0" tIns="0" bIns="756000" anchor="ctr" anchorCtr="1">
            <a:noAutofit/>
          </a:bodyPr>
          <a:lstStyle>
            <a:lvl1pPr marL="0" indent="0" algn="r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6FA14A66-2032-C7A9-82E2-51F0AF16F92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9997" y="787737"/>
            <a:ext cx="5810003" cy="390177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ie">
            <a:extLst>
              <a:ext uri="{FF2B5EF4-FFF2-40B4-BE49-F238E27FC236}">
                <a16:creationId xmlns:a16="http://schemas.microsoft.com/office/drawing/2014/main" id="{8978852F-2CDA-6608-6F99-C745F610E84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39997" y="485774"/>
            <a:ext cx="5810003" cy="330537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32D19F0A-0CEF-1171-86C8-596FFDE5A5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6080" y="5751186"/>
            <a:ext cx="4248472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2439679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8 | Orange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Schleife">
            <a:extLst>
              <a:ext uri="{FF2B5EF4-FFF2-40B4-BE49-F238E27FC236}">
                <a16:creationId xmlns:a16="http://schemas.microsoft.com/office/drawing/2014/main" id="{31145FDB-8AA6-DDF5-89D6-B5C15303B0F3}"/>
              </a:ext>
            </a:extLst>
          </p:cNvPr>
          <p:cNvGrpSpPr/>
          <p:nvPr userDrawn="1"/>
        </p:nvGrpSpPr>
        <p:grpSpPr>
          <a:xfrm>
            <a:off x="-287109" y="1725718"/>
            <a:ext cx="12759254" cy="5197843"/>
            <a:chOff x="-287109" y="1725718"/>
            <a:chExt cx="12759254" cy="5197843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FFFEF12F-1FA7-331E-DC41-470BEC379232}"/>
                </a:ext>
              </a:extLst>
            </p:cNvPr>
            <p:cNvSpPr/>
            <p:nvPr userDrawn="1"/>
          </p:nvSpPr>
          <p:spPr>
            <a:xfrm rot="4833082" flipV="1">
              <a:off x="9987146" y="2513454"/>
              <a:ext cx="3272735" cy="1697263"/>
            </a:xfrm>
            <a:custGeom>
              <a:avLst/>
              <a:gdLst>
                <a:gd name="connsiteX0" fmla="*/ 0 w 3272735"/>
                <a:gd name="connsiteY0" fmla="*/ 1697263 h 1697263"/>
                <a:gd name="connsiteX1" fmla="*/ 3010606 w 3272735"/>
                <a:gd name="connsiteY1" fmla="*/ 1196235 h 1697263"/>
                <a:gd name="connsiteX2" fmla="*/ 3272735 w 3272735"/>
                <a:gd name="connsiteY2" fmla="*/ 0 h 1697263"/>
                <a:gd name="connsiteX3" fmla="*/ 262129 w 3272735"/>
                <a:gd name="connsiteY3" fmla="*/ 501028 h 169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2735" h="1697263">
                  <a:moveTo>
                    <a:pt x="0" y="1697263"/>
                  </a:moveTo>
                  <a:lnTo>
                    <a:pt x="3010606" y="1196235"/>
                  </a:lnTo>
                  <a:lnTo>
                    <a:pt x="3272735" y="0"/>
                  </a:lnTo>
                  <a:lnTo>
                    <a:pt x="262129" y="501028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F6156A9-05DE-88C1-5DA8-6988FCF38567}"/>
                </a:ext>
              </a:extLst>
            </p:cNvPr>
            <p:cNvSpPr/>
            <p:nvPr userDrawn="1"/>
          </p:nvSpPr>
          <p:spPr>
            <a:xfrm rot="4833082" flipV="1">
              <a:off x="1326358" y="1031755"/>
              <a:ext cx="4278339" cy="7505274"/>
            </a:xfrm>
            <a:custGeom>
              <a:avLst/>
              <a:gdLst>
                <a:gd name="connsiteX0" fmla="*/ 0 w 4278339"/>
                <a:gd name="connsiteY0" fmla="*/ 7505274 h 7505274"/>
                <a:gd name="connsiteX1" fmla="*/ 3637449 w 4278339"/>
                <a:gd name="connsiteY1" fmla="*/ 6899927 h 7505274"/>
                <a:gd name="connsiteX2" fmla="*/ 4278339 w 4278339"/>
                <a:gd name="connsiteY2" fmla="*/ 3975204 h 7505274"/>
                <a:gd name="connsiteX3" fmla="*/ 3616781 w 4278339"/>
                <a:gd name="connsiteY3" fmla="*/ 0 h 7505274"/>
                <a:gd name="connsiteX4" fmla="*/ 1569977 w 4278339"/>
                <a:gd name="connsiteY4" fmla="*/ 340631 h 750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8339" h="7505274">
                  <a:moveTo>
                    <a:pt x="0" y="7505274"/>
                  </a:moveTo>
                  <a:lnTo>
                    <a:pt x="3637449" y="6899927"/>
                  </a:lnTo>
                  <a:lnTo>
                    <a:pt x="4278339" y="3975204"/>
                  </a:lnTo>
                  <a:lnTo>
                    <a:pt x="3616781" y="0"/>
                  </a:lnTo>
                  <a:lnTo>
                    <a:pt x="1569977" y="340631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2" name="Logo">
            <a:extLst>
              <a:ext uri="{FF2B5EF4-FFF2-40B4-BE49-F238E27FC236}">
                <a16:creationId xmlns:a16="http://schemas.microsoft.com/office/drawing/2014/main" id="{57486061-ED53-C581-7334-5F4C9DC218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311" y="5391146"/>
            <a:ext cx="1925303" cy="1467342"/>
          </a:xfrm>
          <a:prstGeom prst="rect">
            <a:avLst/>
          </a:prstGeom>
        </p:spPr>
      </p:pic>
      <p:sp>
        <p:nvSpPr>
          <p:cNvPr id="12" name="Bild-Platzhalter">
            <a:extLst>
              <a:ext uri="{FF2B5EF4-FFF2-40B4-BE49-F238E27FC236}">
                <a16:creationId xmlns:a16="http://schemas.microsoft.com/office/drawing/2014/main" id="{33B82A46-DCA0-A941-D0DC-81F8C7217E86}"/>
              </a:ext>
            </a:extLst>
          </p:cNvPr>
          <p:cNvSpPr>
            <a:spLocks noGrp="1" noChangeAspect="1"/>
          </p:cNvSpPr>
          <p:nvPr userDrawn="1">
            <p:ph type="pic" sz="quarter" idx="10" hasCustomPrompt="1"/>
          </p:nvPr>
        </p:nvSpPr>
        <p:spPr>
          <a:xfrm>
            <a:off x="6816080" y="2060848"/>
            <a:ext cx="4248472" cy="3672558"/>
          </a:xfrm>
          <a:custGeom>
            <a:avLst/>
            <a:gdLst>
              <a:gd name="connsiteX0" fmla="*/ 0 w 4248472"/>
              <a:gd name="connsiteY0" fmla="*/ 0 h 3672558"/>
              <a:gd name="connsiteX1" fmla="*/ 4248472 w 4248472"/>
              <a:gd name="connsiteY1" fmla="*/ 0 h 3672558"/>
              <a:gd name="connsiteX2" fmla="*/ 4248472 w 4248472"/>
              <a:gd name="connsiteY2" fmla="*/ 3050907 h 3672558"/>
              <a:gd name="connsiteX3" fmla="*/ 2694895 w 4248472"/>
              <a:gd name="connsiteY3" fmla="*/ 3672558 h 3672558"/>
              <a:gd name="connsiteX4" fmla="*/ 0 w 4248472"/>
              <a:gd name="connsiteY4" fmla="*/ 3672558 h 3672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472" h="3672558">
                <a:moveTo>
                  <a:pt x="0" y="0"/>
                </a:moveTo>
                <a:lnTo>
                  <a:pt x="4248472" y="0"/>
                </a:lnTo>
                <a:lnTo>
                  <a:pt x="4248472" y="3050907"/>
                </a:lnTo>
                <a:lnTo>
                  <a:pt x="2694895" y="3672558"/>
                </a:lnTo>
                <a:lnTo>
                  <a:pt x="0" y="3672558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txBody>
          <a:bodyPr wrap="square" lIns="0" tIns="0" bIns="756000" anchor="ctr" anchorCtr="1">
            <a:noAutofit/>
          </a:bodyPr>
          <a:lstStyle>
            <a:lvl1pPr marL="0" indent="0" algn="r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6FA14A66-2032-C7A9-82E2-51F0AF16F92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9997" y="787737"/>
            <a:ext cx="5810003" cy="390177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ie">
            <a:extLst>
              <a:ext uri="{FF2B5EF4-FFF2-40B4-BE49-F238E27FC236}">
                <a16:creationId xmlns:a16="http://schemas.microsoft.com/office/drawing/2014/main" id="{8978852F-2CDA-6608-6F99-C745F610E84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39997" y="485774"/>
            <a:ext cx="5810003" cy="330537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32D19F0A-0CEF-1171-86C8-596FFDE5A5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6080" y="5751186"/>
            <a:ext cx="4248472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6730460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8 | Grün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Schleife">
            <a:extLst>
              <a:ext uri="{FF2B5EF4-FFF2-40B4-BE49-F238E27FC236}">
                <a16:creationId xmlns:a16="http://schemas.microsoft.com/office/drawing/2014/main" id="{31145FDB-8AA6-DDF5-89D6-B5C15303B0F3}"/>
              </a:ext>
            </a:extLst>
          </p:cNvPr>
          <p:cNvGrpSpPr/>
          <p:nvPr userDrawn="1"/>
        </p:nvGrpSpPr>
        <p:grpSpPr>
          <a:xfrm>
            <a:off x="-287109" y="1725718"/>
            <a:ext cx="12759254" cy="5197843"/>
            <a:chOff x="-287109" y="1725718"/>
            <a:chExt cx="12759254" cy="5197843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FFFEF12F-1FA7-331E-DC41-470BEC379232}"/>
                </a:ext>
              </a:extLst>
            </p:cNvPr>
            <p:cNvSpPr/>
            <p:nvPr userDrawn="1"/>
          </p:nvSpPr>
          <p:spPr>
            <a:xfrm rot="4833082" flipV="1">
              <a:off x="9987146" y="2513454"/>
              <a:ext cx="3272735" cy="1697263"/>
            </a:xfrm>
            <a:custGeom>
              <a:avLst/>
              <a:gdLst>
                <a:gd name="connsiteX0" fmla="*/ 0 w 3272735"/>
                <a:gd name="connsiteY0" fmla="*/ 1697263 h 1697263"/>
                <a:gd name="connsiteX1" fmla="*/ 3010606 w 3272735"/>
                <a:gd name="connsiteY1" fmla="*/ 1196235 h 1697263"/>
                <a:gd name="connsiteX2" fmla="*/ 3272735 w 3272735"/>
                <a:gd name="connsiteY2" fmla="*/ 0 h 1697263"/>
                <a:gd name="connsiteX3" fmla="*/ 262129 w 3272735"/>
                <a:gd name="connsiteY3" fmla="*/ 501028 h 169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2735" h="1697263">
                  <a:moveTo>
                    <a:pt x="0" y="1697263"/>
                  </a:moveTo>
                  <a:lnTo>
                    <a:pt x="3010606" y="1196235"/>
                  </a:lnTo>
                  <a:lnTo>
                    <a:pt x="3272735" y="0"/>
                  </a:lnTo>
                  <a:lnTo>
                    <a:pt x="262129" y="501028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F6156A9-05DE-88C1-5DA8-6988FCF38567}"/>
                </a:ext>
              </a:extLst>
            </p:cNvPr>
            <p:cNvSpPr/>
            <p:nvPr userDrawn="1"/>
          </p:nvSpPr>
          <p:spPr>
            <a:xfrm rot="4833082" flipV="1">
              <a:off x="1326358" y="1031755"/>
              <a:ext cx="4278339" cy="7505274"/>
            </a:xfrm>
            <a:custGeom>
              <a:avLst/>
              <a:gdLst>
                <a:gd name="connsiteX0" fmla="*/ 0 w 4278339"/>
                <a:gd name="connsiteY0" fmla="*/ 7505274 h 7505274"/>
                <a:gd name="connsiteX1" fmla="*/ 3637449 w 4278339"/>
                <a:gd name="connsiteY1" fmla="*/ 6899927 h 7505274"/>
                <a:gd name="connsiteX2" fmla="*/ 4278339 w 4278339"/>
                <a:gd name="connsiteY2" fmla="*/ 3975204 h 7505274"/>
                <a:gd name="connsiteX3" fmla="*/ 3616781 w 4278339"/>
                <a:gd name="connsiteY3" fmla="*/ 0 h 7505274"/>
                <a:gd name="connsiteX4" fmla="*/ 1569977 w 4278339"/>
                <a:gd name="connsiteY4" fmla="*/ 340631 h 750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8339" h="7505274">
                  <a:moveTo>
                    <a:pt x="0" y="7505274"/>
                  </a:moveTo>
                  <a:lnTo>
                    <a:pt x="3637449" y="6899927"/>
                  </a:lnTo>
                  <a:lnTo>
                    <a:pt x="4278339" y="3975204"/>
                  </a:lnTo>
                  <a:lnTo>
                    <a:pt x="3616781" y="0"/>
                  </a:lnTo>
                  <a:lnTo>
                    <a:pt x="1569977" y="340631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2" name="Logo">
            <a:extLst>
              <a:ext uri="{FF2B5EF4-FFF2-40B4-BE49-F238E27FC236}">
                <a16:creationId xmlns:a16="http://schemas.microsoft.com/office/drawing/2014/main" id="{57486061-ED53-C581-7334-5F4C9DC218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312" y="5391146"/>
            <a:ext cx="1925301" cy="1467342"/>
          </a:xfrm>
          <a:prstGeom prst="rect">
            <a:avLst/>
          </a:prstGeom>
        </p:spPr>
      </p:pic>
      <p:sp>
        <p:nvSpPr>
          <p:cNvPr id="12" name="Bild-Platzhalter">
            <a:extLst>
              <a:ext uri="{FF2B5EF4-FFF2-40B4-BE49-F238E27FC236}">
                <a16:creationId xmlns:a16="http://schemas.microsoft.com/office/drawing/2014/main" id="{33B82A46-DCA0-A941-D0DC-81F8C7217E86}"/>
              </a:ext>
            </a:extLst>
          </p:cNvPr>
          <p:cNvSpPr>
            <a:spLocks noGrp="1" noChangeAspect="1"/>
          </p:cNvSpPr>
          <p:nvPr userDrawn="1">
            <p:ph type="pic" sz="quarter" idx="10" hasCustomPrompt="1"/>
          </p:nvPr>
        </p:nvSpPr>
        <p:spPr>
          <a:xfrm>
            <a:off x="6816080" y="2060848"/>
            <a:ext cx="4248472" cy="3672558"/>
          </a:xfrm>
          <a:custGeom>
            <a:avLst/>
            <a:gdLst>
              <a:gd name="connsiteX0" fmla="*/ 0 w 4248472"/>
              <a:gd name="connsiteY0" fmla="*/ 0 h 3672558"/>
              <a:gd name="connsiteX1" fmla="*/ 4248472 w 4248472"/>
              <a:gd name="connsiteY1" fmla="*/ 0 h 3672558"/>
              <a:gd name="connsiteX2" fmla="*/ 4248472 w 4248472"/>
              <a:gd name="connsiteY2" fmla="*/ 3050907 h 3672558"/>
              <a:gd name="connsiteX3" fmla="*/ 2694895 w 4248472"/>
              <a:gd name="connsiteY3" fmla="*/ 3672558 h 3672558"/>
              <a:gd name="connsiteX4" fmla="*/ 0 w 4248472"/>
              <a:gd name="connsiteY4" fmla="*/ 3672558 h 3672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472" h="3672558">
                <a:moveTo>
                  <a:pt x="0" y="0"/>
                </a:moveTo>
                <a:lnTo>
                  <a:pt x="4248472" y="0"/>
                </a:lnTo>
                <a:lnTo>
                  <a:pt x="4248472" y="3050907"/>
                </a:lnTo>
                <a:lnTo>
                  <a:pt x="2694895" y="3672558"/>
                </a:lnTo>
                <a:lnTo>
                  <a:pt x="0" y="3672558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txBody>
          <a:bodyPr wrap="square" lIns="0" tIns="0" bIns="756000" anchor="ctr" anchorCtr="1">
            <a:noAutofit/>
          </a:bodyPr>
          <a:lstStyle>
            <a:lvl1pPr marL="0" indent="0" algn="r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6FA14A66-2032-C7A9-82E2-51F0AF16F92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9997" y="787737"/>
            <a:ext cx="5810003" cy="390177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ie">
            <a:extLst>
              <a:ext uri="{FF2B5EF4-FFF2-40B4-BE49-F238E27FC236}">
                <a16:creationId xmlns:a16="http://schemas.microsoft.com/office/drawing/2014/main" id="{8978852F-2CDA-6608-6F99-C745F610E84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39997" y="485774"/>
            <a:ext cx="5810003" cy="330537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05A5E508-A369-AA38-14C9-7C4849020C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6080" y="5751186"/>
            <a:ext cx="4248472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14082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a |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-989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rIns="90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235236C6-07B9-31FB-3EDF-D8F7214F46B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3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84AB42E-CA65-04AF-3EED-ECB17CE31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621" y="675000"/>
            <a:ext cx="5328000" cy="5508000"/>
          </a:xfrm>
          <a:custGeom>
            <a:avLst/>
            <a:gdLst>
              <a:gd name="connsiteX0" fmla="*/ 0 w 5436000"/>
              <a:gd name="connsiteY0" fmla="*/ 0 h 5580000"/>
              <a:gd name="connsiteX1" fmla="*/ 5436000 w 5436000"/>
              <a:gd name="connsiteY1" fmla="*/ 0 h 5580000"/>
              <a:gd name="connsiteX2" fmla="*/ 5436000 w 5436000"/>
              <a:gd name="connsiteY2" fmla="*/ 4663320 h 5580000"/>
              <a:gd name="connsiteX3" fmla="*/ 3852000 w 5436000"/>
              <a:gd name="connsiteY3" fmla="*/ 5580000 h 5580000"/>
              <a:gd name="connsiteX4" fmla="*/ 0 w 5436000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6000" h="5580000">
                <a:moveTo>
                  <a:pt x="0" y="0"/>
                </a:moveTo>
                <a:lnTo>
                  <a:pt x="5436000" y="0"/>
                </a:lnTo>
                <a:lnTo>
                  <a:pt x="5436000" y="4663320"/>
                </a:lnTo>
                <a:lnTo>
                  <a:pt x="3852000" y="5580000"/>
                </a:lnTo>
                <a:lnTo>
                  <a:pt x="0" y="5580000"/>
                </a:lnTo>
                <a:close/>
              </a:path>
            </a:pathLst>
          </a:custGeom>
          <a:solidFill>
            <a:srgbClr val="10065A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4922" y="1046633"/>
            <a:ext cx="5014181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830957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Grün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10A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25260" y="966418"/>
            <a:ext cx="2765857" cy="2107959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rgbClr val="10AD00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105648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a | Weiß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-989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rIns="90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48FF6A88-6DC7-C17F-B19E-6A7E2575D0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3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84AB42E-CA65-04AF-3EED-ECB17CE31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621" y="675000"/>
            <a:ext cx="5328000" cy="5508000"/>
          </a:xfrm>
          <a:custGeom>
            <a:avLst/>
            <a:gdLst>
              <a:gd name="connsiteX0" fmla="*/ 0 w 5436000"/>
              <a:gd name="connsiteY0" fmla="*/ 0 h 5580000"/>
              <a:gd name="connsiteX1" fmla="*/ 5436000 w 5436000"/>
              <a:gd name="connsiteY1" fmla="*/ 0 h 5580000"/>
              <a:gd name="connsiteX2" fmla="*/ 5436000 w 5436000"/>
              <a:gd name="connsiteY2" fmla="*/ 4663320 h 5580000"/>
              <a:gd name="connsiteX3" fmla="*/ 3852000 w 5436000"/>
              <a:gd name="connsiteY3" fmla="*/ 5580000 h 5580000"/>
              <a:gd name="connsiteX4" fmla="*/ 0 w 5436000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6000" h="5580000">
                <a:moveTo>
                  <a:pt x="0" y="0"/>
                </a:moveTo>
                <a:lnTo>
                  <a:pt x="5436000" y="0"/>
                </a:lnTo>
                <a:lnTo>
                  <a:pt x="5436000" y="4663320"/>
                </a:lnTo>
                <a:lnTo>
                  <a:pt x="3852000" y="5580000"/>
                </a:lnTo>
                <a:lnTo>
                  <a:pt x="0" y="558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4" name="Dachzeile">
            <a:extLst>
              <a:ext uri="{FF2B5EF4-FFF2-40B4-BE49-F238E27FC236}">
                <a16:creationId xmlns:a16="http://schemas.microsoft.com/office/drawing/2014/main" id="{B1FB97C9-B784-CEB1-1968-292D783248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4922" y="1046633"/>
            <a:ext cx="5014181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678349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a |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-989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rIns="90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9E734E99-727E-2CE5-16DE-9361B8A49A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3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84AB42E-CA65-04AF-3EED-ECB17CE31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621" y="675000"/>
            <a:ext cx="5328000" cy="5508000"/>
          </a:xfrm>
          <a:custGeom>
            <a:avLst/>
            <a:gdLst>
              <a:gd name="connsiteX0" fmla="*/ 0 w 5436000"/>
              <a:gd name="connsiteY0" fmla="*/ 0 h 5580000"/>
              <a:gd name="connsiteX1" fmla="*/ 5436000 w 5436000"/>
              <a:gd name="connsiteY1" fmla="*/ 0 h 5580000"/>
              <a:gd name="connsiteX2" fmla="*/ 5436000 w 5436000"/>
              <a:gd name="connsiteY2" fmla="*/ 4663320 h 5580000"/>
              <a:gd name="connsiteX3" fmla="*/ 3852000 w 5436000"/>
              <a:gd name="connsiteY3" fmla="*/ 5580000 h 5580000"/>
              <a:gd name="connsiteX4" fmla="*/ 0 w 5436000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6000" h="5580000">
                <a:moveTo>
                  <a:pt x="0" y="0"/>
                </a:moveTo>
                <a:lnTo>
                  <a:pt x="5436000" y="0"/>
                </a:lnTo>
                <a:lnTo>
                  <a:pt x="5436000" y="4663320"/>
                </a:lnTo>
                <a:lnTo>
                  <a:pt x="3852000" y="5580000"/>
                </a:lnTo>
                <a:lnTo>
                  <a:pt x="0" y="5580000"/>
                </a:lnTo>
                <a:close/>
              </a:path>
            </a:pathLst>
          </a:custGeom>
          <a:solidFill>
            <a:srgbClr val="10069F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4922" y="1046633"/>
            <a:ext cx="5014181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038823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a | Weiß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-989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rIns="90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6425408-B549-BF40-F169-E632A5F550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3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84AB42E-CA65-04AF-3EED-ECB17CE31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621" y="675000"/>
            <a:ext cx="5328000" cy="5508000"/>
          </a:xfrm>
          <a:custGeom>
            <a:avLst/>
            <a:gdLst>
              <a:gd name="connsiteX0" fmla="*/ 0 w 5436000"/>
              <a:gd name="connsiteY0" fmla="*/ 0 h 5580000"/>
              <a:gd name="connsiteX1" fmla="*/ 5436000 w 5436000"/>
              <a:gd name="connsiteY1" fmla="*/ 0 h 5580000"/>
              <a:gd name="connsiteX2" fmla="*/ 5436000 w 5436000"/>
              <a:gd name="connsiteY2" fmla="*/ 4663320 h 5580000"/>
              <a:gd name="connsiteX3" fmla="*/ 3852000 w 5436000"/>
              <a:gd name="connsiteY3" fmla="*/ 5580000 h 5580000"/>
              <a:gd name="connsiteX4" fmla="*/ 0 w 5436000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6000" h="5580000">
                <a:moveTo>
                  <a:pt x="0" y="0"/>
                </a:moveTo>
                <a:lnTo>
                  <a:pt x="5436000" y="0"/>
                </a:lnTo>
                <a:lnTo>
                  <a:pt x="5436000" y="4663320"/>
                </a:lnTo>
                <a:lnTo>
                  <a:pt x="3852000" y="5580000"/>
                </a:lnTo>
                <a:lnTo>
                  <a:pt x="0" y="5580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4" name="Dachzeile">
            <a:extLst>
              <a:ext uri="{FF2B5EF4-FFF2-40B4-BE49-F238E27FC236}">
                <a16:creationId xmlns:a16="http://schemas.microsoft.com/office/drawing/2014/main" id="{B1FB97C9-B784-CEB1-1968-292D783248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4922" y="1046633"/>
            <a:ext cx="5014181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107370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a |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-989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rIns="90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B1A18D66-EDF9-EE2E-AE5F-817D099ADB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3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84AB42E-CA65-04AF-3EED-ECB17CE31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621" y="675000"/>
            <a:ext cx="5328000" cy="5508000"/>
          </a:xfrm>
          <a:custGeom>
            <a:avLst/>
            <a:gdLst>
              <a:gd name="connsiteX0" fmla="*/ 0 w 5436000"/>
              <a:gd name="connsiteY0" fmla="*/ 0 h 5580000"/>
              <a:gd name="connsiteX1" fmla="*/ 5436000 w 5436000"/>
              <a:gd name="connsiteY1" fmla="*/ 0 h 5580000"/>
              <a:gd name="connsiteX2" fmla="*/ 5436000 w 5436000"/>
              <a:gd name="connsiteY2" fmla="*/ 4663320 h 5580000"/>
              <a:gd name="connsiteX3" fmla="*/ 3852000 w 5436000"/>
              <a:gd name="connsiteY3" fmla="*/ 5580000 h 5580000"/>
              <a:gd name="connsiteX4" fmla="*/ 0 w 5436000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6000" h="5580000">
                <a:moveTo>
                  <a:pt x="0" y="0"/>
                </a:moveTo>
                <a:lnTo>
                  <a:pt x="5436000" y="0"/>
                </a:lnTo>
                <a:lnTo>
                  <a:pt x="5436000" y="4663320"/>
                </a:lnTo>
                <a:lnTo>
                  <a:pt x="3852000" y="5580000"/>
                </a:lnTo>
                <a:lnTo>
                  <a:pt x="0" y="5580000"/>
                </a:lnTo>
                <a:close/>
              </a:path>
            </a:pathLst>
          </a:custGeom>
          <a:solidFill>
            <a:srgbClr val="FF3EB5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4922" y="1046633"/>
            <a:ext cx="5014181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5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506411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a | Tü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-989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rIns="90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884C9274-9C0B-C63E-F91F-231AC740AF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3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84AB42E-CA65-04AF-3EED-ECB17CE31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621" y="675000"/>
            <a:ext cx="5328000" cy="5508000"/>
          </a:xfrm>
          <a:custGeom>
            <a:avLst/>
            <a:gdLst>
              <a:gd name="connsiteX0" fmla="*/ 0 w 5436000"/>
              <a:gd name="connsiteY0" fmla="*/ 0 h 5580000"/>
              <a:gd name="connsiteX1" fmla="*/ 5436000 w 5436000"/>
              <a:gd name="connsiteY1" fmla="*/ 0 h 5580000"/>
              <a:gd name="connsiteX2" fmla="*/ 5436000 w 5436000"/>
              <a:gd name="connsiteY2" fmla="*/ 4663320 h 5580000"/>
              <a:gd name="connsiteX3" fmla="*/ 3852000 w 5436000"/>
              <a:gd name="connsiteY3" fmla="*/ 5580000 h 5580000"/>
              <a:gd name="connsiteX4" fmla="*/ 0 w 5436000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6000" h="5580000">
                <a:moveTo>
                  <a:pt x="0" y="0"/>
                </a:moveTo>
                <a:lnTo>
                  <a:pt x="5436000" y="0"/>
                </a:lnTo>
                <a:lnTo>
                  <a:pt x="5436000" y="4663320"/>
                </a:lnTo>
                <a:lnTo>
                  <a:pt x="3852000" y="5580000"/>
                </a:lnTo>
                <a:lnTo>
                  <a:pt x="0" y="5580000"/>
                </a:lnTo>
                <a:close/>
              </a:path>
            </a:pathLst>
          </a:custGeom>
          <a:solidFill>
            <a:srgbClr val="10ADAA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4922" y="1046633"/>
            <a:ext cx="5014181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5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4067512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a |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-989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rIns="90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1C4C67B1-22E4-79E7-FBA7-66517479DC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3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84AB42E-CA65-04AF-3EED-ECB17CE31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621" y="675000"/>
            <a:ext cx="5328000" cy="5508000"/>
          </a:xfrm>
          <a:custGeom>
            <a:avLst/>
            <a:gdLst>
              <a:gd name="connsiteX0" fmla="*/ 0 w 5436000"/>
              <a:gd name="connsiteY0" fmla="*/ 0 h 5580000"/>
              <a:gd name="connsiteX1" fmla="*/ 5436000 w 5436000"/>
              <a:gd name="connsiteY1" fmla="*/ 0 h 5580000"/>
              <a:gd name="connsiteX2" fmla="*/ 5436000 w 5436000"/>
              <a:gd name="connsiteY2" fmla="*/ 4663320 h 5580000"/>
              <a:gd name="connsiteX3" fmla="*/ 3852000 w 5436000"/>
              <a:gd name="connsiteY3" fmla="*/ 5580000 h 5580000"/>
              <a:gd name="connsiteX4" fmla="*/ 0 w 5436000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6000" h="5580000">
                <a:moveTo>
                  <a:pt x="0" y="0"/>
                </a:moveTo>
                <a:lnTo>
                  <a:pt x="5436000" y="0"/>
                </a:lnTo>
                <a:lnTo>
                  <a:pt x="5436000" y="4663320"/>
                </a:lnTo>
                <a:lnTo>
                  <a:pt x="3852000" y="5580000"/>
                </a:lnTo>
                <a:lnTo>
                  <a:pt x="0" y="5580000"/>
                </a:lnTo>
                <a:close/>
              </a:path>
            </a:pathLst>
          </a:custGeom>
          <a:solidFill>
            <a:srgbClr val="8C3E9F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4" name="Dachzeile">
            <a:extLst>
              <a:ext uri="{FF2B5EF4-FFF2-40B4-BE49-F238E27FC236}">
                <a16:creationId xmlns:a16="http://schemas.microsoft.com/office/drawing/2014/main" id="{B1FB97C9-B784-CEB1-1968-292D783248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4922" y="1046633"/>
            <a:ext cx="5014181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1932380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a |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-989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rIns="90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1941BA2B-113A-F87A-378B-71397691C4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3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84AB42E-CA65-04AF-3EED-ECB17CE31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621" y="675000"/>
            <a:ext cx="5328000" cy="5508000"/>
          </a:xfrm>
          <a:custGeom>
            <a:avLst/>
            <a:gdLst>
              <a:gd name="connsiteX0" fmla="*/ 0 w 5436000"/>
              <a:gd name="connsiteY0" fmla="*/ 0 h 5580000"/>
              <a:gd name="connsiteX1" fmla="*/ 5436000 w 5436000"/>
              <a:gd name="connsiteY1" fmla="*/ 0 h 5580000"/>
              <a:gd name="connsiteX2" fmla="*/ 5436000 w 5436000"/>
              <a:gd name="connsiteY2" fmla="*/ 4663320 h 5580000"/>
              <a:gd name="connsiteX3" fmla="*/ 3852000 w 5436000"/>
              <a:gd name="connsiteY3" fmla="*/ 5580000 h 5580000"/>
              <a:gd name="connsiteX4" fmla="*/ 0 w 5436000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6000" h="5580000">
                <a:moveTo>
                  <a:pt x="0" y="0"/>
                </a:moveTo>
                <a:lnTo>
                  <a:pt x="5436000" y="0"/>
                </a:lnTo>
                <a:lnTo>
                  <a:pt x="5436000" y="4663320"/>
                </a:lnTo>
                <a:lnTo>
                  <a:pt x="3852000" y="5580000"/>
                </a:lnTo>
                <a:lnTo>
                  <a:pt x="0" y="5580000"/>
                </a:lnTo>
                <a:close/>
              </a:path>
            </a:pathLst>
          </a:custGeom>
          <a:solidFill>
            <a:srgbClr val="FF4414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4" name="Dachzeile">
            <a:extLst>
              <a:ext uri="{FF2B5EF4-FFF2-40B4-BE49-F238E27FC236}">
                <a16:creationId xmlns:a16="http://schemas.microsoft.com/office/drawing/2014/main" id="{B1FB97C9-B784-CEB1-1968-292D783248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4922" y="1046633"/>
            <a:ext cx="5014181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5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333277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a |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-989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rIns="90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706B1B88-A648-B2A2-6D31-2B65FF7297E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3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84AB42E-CA65-04AF-3EED-ECB17CE31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621" y="675000"/>
            <a:ext cx="5328000" cy="5508000"/>
          </a:xfrm>
          <a:custGeom>
            <a:avLst/>
            <a:gdLst>
              <a:gd name="connsiteX0" fmla="*/ 0 w 5436000"/>
              <a:gd name="connsiteY0" fmla="*/ 0 h 5580000"/>
              <a:gd name="connsiteX1" fmla="*/ 5436000 w 5436000"/>
              <a:gd name="connsiteY1" fmla="*/ 0 h 5580000"/>
              <a:gd name="connsiteX2" fmla="*/ 5436000 w 5436000"/>
              <a:gd name="connsiteY2" fmla="*/ 4663320 h 5580000"/>
              <a:gd name="connsiteX3" fmla="*/ 3852000 w 5436000"/>
              <a:gd name="connsiteY3" fmla="*/ 5580000 h 5580000"/>
              <a:gd name="connsiteX4" fmla="*/ 0 w 5436000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6000" h="5580000">
                <a:moveTo>
                  <a:pt x="0" y="0"/>
                </a:moveTo>
                <a:lnTo>
                  <a:pt x="5436000" y="0"/>
                </a:lnTo>
                <a:lnTo>
                  <a:pt x="5436000" y="4663320"/>
                </a:lnTo>
                <a:lnTo>
                  <a:pt x="3852000" y="5580000"/>
                </a:lnTo>
                <a:lnTo>
                  <a:pt x="0" y="5580000"/>
                </a:lnTo>
                <a:close/>
              </a:path>
            </a:pathLst>
          </a:custGeom>
          <a:solidFill>
            <a:srgbClr val="FFAD00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4" name="Dachzeile">
            <a:extLst>
              <a:ext uri="{FF2B5EF4-FFF2-40B4-BE49-F238E27FC236}">
                <a16:creationId xmlns:a16="http://schemas.microsoft.com/office/drawing/2014/main" id="{B1FB97C9-B784-CEB1-1968-292D783248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4922" y="1046633"/>
            <a:ext cx="5014181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875822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a |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-989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rIns="90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861F1C72-159E-A521-C3AC-9588E8ED494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3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84AB42E-CA65-04AF-3EED-ECB17CE31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621" y="675000"/>
            <a:ext cx="5328000" cy="5508000"/>
          </a:xfrm>
          <a:custGeom>
            <a:avLst/>
            <a:gdLst>
              <a:gd name="connsiteX0" fmla="*/ 0 w 5436000"/>
              <a:gd name="connsiteY0" fmla="*/ 0 h 5580000"/>
              <a:gd name="connsiteX1" fmla="*/ 5436000 w 5436000"/>
              <a:gd name="connsiteY1" fmla="*/ 0 h 5580000"/>
              <a:gd name="connsiteX2" fmla="*/ 5436000 w 5436000"/>
              <a:gd name="connsiteY2" fmla="*/ 4663320 h 5580000"/>
              <a:gd name="connsiteX3" fmla="*/ 3852000 w 5436000"/>
              <a:gd name="connsiteY3" fmla="*/ 5580000 h 5580000"/>
              <a:gd name="connsiteX4" fmla="*/ 0 w 5436000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6000" h="5580000">
                <a:moveTo>
                  <a:pt x="0" y="0"/>
                </a:moveTo>
                <a:lnTo>
                  <a:pt x="5436000" y="0"/>
                </a:lnTo>
                <a:lnTo>
                  <a:pt x="5436000" y="4663320"/>
                </a:lnTo>
                <a:lnTo>
                  <a:pt x="3852000" y="5580000"/>
                </a:lnTo>
                <a:lnTo>
                  <a:pt x="0" y="5580000"/>
                </a:lnTo>
                <a:close/>
              </a:path>
            </a:pathLst>
          </a:custGeom>
          <a:solidFill>
            <a:srgbClr val="10AD00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4" name="Dachzeile">
            <a:extLst>
              <a:ext uri="{FF2B5EF4-FFF2-40B4-BE49-F238E27FC236}">
                <a16:creationId xmlns:a16="http://schemas.microsoft.com/office/drawing/2014/main" id="{B1FB97C9-B784-CEB1-1968-292D783248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4922" y="1046633"/>
            <a:ext cx="5014181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5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1262778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b |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tIns="0" rIns="8640000" bIns="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2F6B4AD8-E740-B402-4F71-F0F5698DD16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24192" y="6597352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388A1FEC-676A-598E-051D-A1B19A705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675000"/>
            <a:ext cx="5328000" cy="5508000"/>
          </a:xfrm>
          <a:custGeom>
            <a:avLst/>
            <a:gdLst>
              <a:gd name="connsiteX0" fmla="*/ 0 w 5328000"/>
              <a:gd name="connsiteY0" fmla="*/ 0 h 5508000"/>
              <a:gd name="connsiteX1" fmla="*/ 5328000 w 5328000"/>
              <a:gd name="connsiteY1" fmla="*/ 0 h 5508000"/>
              <a:gd name="connsiteX2" fmla="*/ 5328000 w 5328000"/>
              <a:gd name="connsiteY2" fmla="*/ 5508000 h 5508000"/>
              <a:gd name="connsiteX3" fmla="*/ 1583584 w 5328000"/>
              <a:gd name="connsiteY3" fmla="*/ 5508000 h 5508000"/>
              <a:gd name="connsiteX4" fmla="*/ 0 w 5328000"/>
              <a:gd name="connsiteY4" fmla="*/ 4608512 h 5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8000" h="5508000">
                <a:moveTo>
                  <a:pt x="0" y="0"/>
                </a:moveTo>
                <a:lnTo>
                  <a:pt x="5328000" y="0"/>
                </a:lnTo>
                <a:lnTo>
                  <a:pt x="5328000" y="5508000"/>
                </a:lnTo>
                <a:lnTo>
                  <a:pt x="1583584" y="5508000"/>
                </a:lnTo>
                <a:lnTo>
                  <a:pt x="0" y="4608512"/>
                </a:lnTo>
                <a:close/>
              </a:path>
            </a:pathLst>
          </a:custGeom>
          <a:solidFill>
            <a:srgbClr val="10065A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01488" y="1046633"/>
            <a:ext cx="4967120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523765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2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Grün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10A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25260" y="966418"/>
            <a:ext cx="2765857" cy="2107959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rgbClr val="10AD00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12343458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b | Weiß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tIns="0" rIns="8640000" bIns="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E7B539BE-8C3D-3442-81B2-6AB9DBD5F4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24192" y="6597352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388A1FEC-676A-598E-051D-A1B19A705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675000"/>
            <a:ext cx="5328000" cy="5508000"/>
          </a:xfrm>
          <a:custGeom>
            <a:avLst/>
            <a:gdLst>
              <a:gd name="connsiteX0" fmla="*/ 0 w 5328000"/>
              <a:gd name="connsiteY0" fmla="*/ 0 h 5508000"/>
              <a:gd name="connsiteX1" fmla="*/ 5328000 w 5328000"/>
              <a:gd name="connsiteY1" fmla="*/ 0 h 5508000"/>
              <a:gd name="connsiteX2" fmla="*/ 5328000 w 5328000"/>
              <a:gd name="connsiteY2" fmla="*/ 5508000 h 5508000"/>
              <a:gd name="connsiteX3" fmla="*/ 1583584 w 5328000"/>
              <a:gd name="connsiteY3" fmla="*/ 5508000 h 5508000"/>
              <a:gd name="connsiteX4" fmla="*/ 0 w 5328000"/>
              <a:gd name="connsiteY4" fmla="*/ 4608512 h 5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8000" h="5508000">
                <a:moveTo>
                  <a:pt x="0" y="0"/>
                </a:moveTo>
                <a:lnTo>
                  <a:pt x="5328000" y="0"/>
                </a:lnTo>
                <a:lnTo>
                  <a:pt x="5328000" y="5508000"/>
                </a:lnTo>
                <a:lnTo>
                  <a:pt x="1583584" y="5508000"/>
                </a:lnTo>
                <a:lnTo>
                  <a:pt x="0" y="46085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46313" y="1046633"/>
            <a:ext cx="4922295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0040327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b |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tIns="0" rIns="8640000" bIns="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4DDA2E8F-1F66-BAF3-4C8D-74377169316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24192" y="6597352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388A1FEC-676A-598E-051D-A1B19A705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675000"/>
            <a:ext cx="5328000" cy="5508000"/>
          </a:xfrm>
          <a:custGeom>
            <a:avLst/>
            <a:gdLst>
              <a:gd name="connsiteX0" fmla="*/ 0 w 5328000"/>
              <a:gd name="connsiteY0" fmla="*/ 0 h 5508000"/>
              <a:gd name="connsiteX1" fmla="*/ 5328000 w 5328000"/>
              <a:gd name="connsiteY1" fmla="*/ 0 h 5508000"/>
              <a:gd name="connsiteX2" fmla="*/ 5328000 w 5328000"/>
              <a:gd name="connsiteY2" fmla="*/ 5508000 h 5508000"/>
              <a:gd name="connsiteX3" fmla="*/ 1583584 w 5328000"/>
              <a:gd name="connsiteY3" fmla="*/ 5508000 h 5508000"/>
              <a:gd name="connsiteX4" fmla="*/ 0 w 5328000"/>
              <a:gd name="connsiteY4" fmla="*/ 4608512 h 5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8000" h="5508000">
                <a:moveTo>
                  <a:pt x="0" y="0"/>
                </a:moveTo>
                <a:lnTo>
                  <a:pt x="5328000" y="0"/>
                </a:lnTo>
                <a:lnTo>
                  <a:pt x="5328000" y="5508000"/>
                </a:lnTo>
                <a:lnTo>
                  <a:pt x="1583584" y="5508000"/>
                </a:lnTo>
                <a:lnTo>
                  <a:pt x="0" y="4608512"/>
                </a:lnTo>
                <a:close/>
              </a:path>
            </a:pathLst>
          </a:custGeom>
          <a:solidFill>
            <a:srgbClr val="10069F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01488" y="1046633"/>
            <a:ext cx="4967120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03474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23" userDrawn="1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b | Weiß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tIns="0" rIns="8640000" bIns="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88A1FEC-676A-598E-051D-A1B19A705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675000"/>
            <a:ext cx="5328000" cy="5508000"/>
          </a:xfrm>
          <a:custGeom>
            <a:avLst/>
            <a:gdLst>
              <a:gd name="connsiteX0" fmla="*/ 0 w 5328000"/>
              <a:gd name="connsiteY0" fmla="*/ 0 h 5508000"/>
              <a:gd name="connsiteX1" fmla="*/ 5328000 w 5328000"/>
              <a:gd name="connsiteY1" fmla="*/ 0 h 5508000"/>
              <a:gd name="connsiteX2" fmla="*/ 5328000 w 5328000"/>
              <a:gd name="connsiteY2" fmla="*/ 5508000 h 5508000"/>
              <a:gd name="connsiteX3" fmla="*/ 1583584 w 5328000"/>
              <a:gd name="connsiteY3" fmla="*/ 5508000 h 5508000"/>
              <a:gd name="connsiteX4" fmla="*/ 0 w 5328000"/>
              <a:gd name="connsiteY4" fmla="*/ 4608512 h 5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8000" h="5508000">
                <a:moveTo>
                  <a:pt x="0" y="0"/>
                </a:moveTo>
                <a:lnTo>
                  <a:pt x="5328000" y="0"/>
                </a:lnTo>
                <a:lnTo>
                  <a:pt x="5328000" y="5508000"/>
                </a:lnTo>
                <a:lnTo>
                  <a:pt x="1583584" y="5508000"/>
                </a:lnTo>
                <a:lnTo>
                  <a:pt x="0" y="46085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46313" y="1046633"/>
            <a:ext cx="4922295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615396FE-A044-4CFB-EDBF-134ABEC0F77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24192" y="6597352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2885111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b |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tIns="0" rIns="8640000" bIns="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138706CD-455F-874A-BDC9-C5D1926D31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24192" y="6597352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388A1FEC-676A-598E-051D-A1B19A705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675000"/>
            <a:ext cx="5328000" cy="5508000"/>
          </a:xfrm>
          <a:custGeom>
            <a:avLst/>
            <a:gdLst>
              <a:gd name="connsiteX0" fmla="*/ 0 w 5328000"/>
              <a:gd name="connsiteY0" fmla="*/ 0 h 5508000"/>
              <a:gd name="connsiteX1" fmla="*/ 5328000 w 5328000"/>
              <a:gd name="connsiteY1" fmla="*/ 0 h 5508000"/>
              <a:gd name="connsiteX2" fmla="*/ 5328000 w 5328000"/>
              <a:gd name="connsiteY2" fmla="*/ 5508000 h 5508000"/>
              <a:gd name="connsiteX3" fmla="*/ 1583584 w 5328000"/>
              <a:gd name="connsiteY3" fmla="*/ 5508000 h 5508000"/>
              <a:gd name="connsiteX4" fmla="*/ 0 w 5328000"/>
              <a:gd name="connsiteY4" fmla="*/ 4608512 h 5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8000" h="5508000">
                <a:moveTo>
                  <a:pt x="0" y="0"/>
                </a:moveTo>
                <a:lnTo>
                  <a:pt x="5328000" y="0"/>
                </a:lnTo>
                <a:lnTo>
                  <a:pt x="5328000" y="5508000"/>
                </a:lnTo>
                <a:lnTo>
                  <a:pt x="1583584" y="5508000"/>
                </a:lnTo>
                <a:lnTo>
                  <a:pt x="0" y="4608512"/>
                </a:lnTo>
                <a:close/>
              </a:path>
            </a:pathLst>
          </a:custGeom>
          <a:solidFill>
            <a:srgbClr val="FF3EB5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01488" y="1046633"/>
            <a:ext cx="4967120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5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610744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23" userDrawn="1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b | Tü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tIns="0" rIns="8640000" bIns="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E28FF1CF-BF0E-FB35-F69D-E0BA4364BCC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24192" y="6597352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388A1FEC-676A-598E-051D-A1B19A705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675000"/>
            <a:ext cx="5328000" cy="5508000"/>
          </a:xfrm>
          <a:custGeom>
            <a:avLst/>
            <a:gdLst>
              <a:gd name="connsiteX0" fmla="*/ 0 w 5328000"/>
              <a:gd name="connsiteY0" fmla="*/ 0 h 5508000"/>
              <a:gd name="connsiteX1" fmla="*/ 5328000 w 5328000"/>
              <a:gd name="connsiteY1" fmla="*/ 0 h 5508000"/>
              <a:gd name="connsiteX2" fmla="*/ 5328000 w 5328000"/>
              <a:gd name="connsiteY2" fmla="*/ 5508000 h 5508000"/>
              <a:gd name="connsiteX3" fmla="*/ 1583584 w 5328000"/>
              <a:gd name="connsiteY3" fmla="*/ 5508000 h 5508000"/>
              <a:gd name="connsiteX4" fmla="*/ 0 w 5328000"/>
              <a:gd name="connsiteY4" fmla="*/ 4608512 h 5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8000" h="5508000">
                <a:moveTo>
                  <a:pt x="0" y="0"/>
                </a:moveTo>
                <a:lnTo>
                  <a:pt x="5328000" y="0"/>
                </a:lnTo>
                <a:lnTo>
                  <a:pt x="5328000" y="5508000"/>
                </a:lnTo>
                <a:lnTo>
                  <a:pt x="1583584" y="5508000"/>
                </a:lnTo>
                <a:lnTo>
                  <a:pt x="0" y="4608512"/>
                </a:lnTo>
                <a:close/>
              </a:path>
            </a:pathLst>
          </a:custGeom>
          <a:solidFill>
            <a:srgbClr val="10ADAA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01488" y="1046633"/>
            <a:ext cx="4967120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5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207870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23" userDrawn="1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b |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tIns="0" rIns="8640000" bIns="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5912642B-CB2A-C415-8E77-DC9DC33E72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24192" y="6597352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388A1FEC-676A-598E-051D-A1B19A705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675000"/>
            <a:ext cx="5328000" cy="5508000"/>
          </a:xfrm>
          <a:custGeom>
            <a:avLst/>
            <a:gdLst>
              <a:gd name="connsiteX0" fmla="*/ 0 w 5328000"/>
              <a:gd name="connsiteY0" fmla="*/ 0 h 5508000"/>
              <a:gd name="connsiteX1" fmla="*/ 5328000 w 5328000"/>
              <a:gd name="connsiteY1" fmla="*/ 0 h 5508000"/>
              <a:gd name="connsiteX2" fmla="*/ 5328000 w 5328000"/>
              <a:gd name="connsiteY2" fmla="*/ 5508000 h 5508000"/>
              <a:gd name="connsiteX3" fmla="*/ 1583584 w 5328000"/>
              <a:gd name="connsiteY3" fmla="*/ 5508000 h 5508000"/>
              <a:gd name="connsiteX4" fmla="*/ 0 w 5328000"/>
              <a:gd name="connsiteY4" fmla="*/ 4608512 h 5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8000" h="5508000">
                <a:moveTo>
                  <a:pt x="0" y="0"/>
                </a:moveTo>
                <a:lnTo>
                  <a:pt x="5328000" y="0"/>
                </a:lnTo>
                <a:lnTo>
                  <a:pt x="5328000" y="5508000"/>
                </a:lnTo>
                <a:lnTo>
                  <a:pt x="1583584" y="5508000"/>
                </a:lnTo>
                <a:lnTo>
                  <a:pt x="0" y="460851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46313" y="1046633"/>
            <a:ext cx="4922295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672436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b |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tIns="0" rIns="8640000" bIns="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654247CA-259E-740D-1BFF-6E9CA1327D9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24192" y="6597352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388A1FEC-676A-598E-051D-A1B19A705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675000"/>
            <a:ext cx="5328000" cy="5508000"/>
          </a:xfrm>
          <a:custGeom>
            <a:avLst/>
            <a:gdLst>
              <a:gd name="connsiteX0" fmla="*/ 0 w 5328000"/>
              <a:gd name="connsiteY0" fmla="*/ 0 h 5508000"/>
              <a:gd name="connsiteX1" fmla="*/ 5328000 w 5328000"/>
              <a:gd name="connsiteY1" fmla="*/ 0 h 5508000"/>
              <a:gd name="connsiteX2" fmla="*/ 5328000 w 5328000"/>
              <a:gd name="connsiteY2" fmla="*/ 5508000 h 5508000"/>
              <a:gd name="connsiteX3" fmla="*/ 1583584 w 5328000"/>
              <a:gd name="connsiteY3" fmla="*/ 5508000 h 5508000"/>
              <a:gd name="connsiteX4" fmla="*/ 0 w 5328000"/>
              <a:gd name="connsiteY4" fmla="*/ 4608512 h 5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8000" h="5508000">
                <a:moveTo>
                  <a:pt x="0" y="0"/>
                </a:moveTo>
                <a:lnTo>
                  <a:pt x="5328000" y="0"/>
                </a:lnTo>
                <a:lnTo>
                  <a:pt x="5328000" y="5508000"/>
                </a:lnTo>
                <a:lnTo>
                  <a:pt x="1583584" y="5508000"/>
                </a:lnTo>
                <a:lnTo>
                  <a:pt x="0" y="4608512"/>
                </a:lnTo>
                <a:close/>
              </a:path>
            </a:pathLst>
          </a:custGeom>
          <a:solidFill>
            <a:srgbClr val="FF4414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46313" y="1046633"/>
            <a:ext cx="4922295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5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813515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b |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tIns="0" rIns="8640000" bIns="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197EC7CF-8BFE-C7A7-F1DE-145448862C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24192" y="6597352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388A1FEC-676A-598E-051D-A1B19A705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675000"/>
            <a:ext cx="5328000" cy="5508000"/>
          </a:xfrm>
          <a:custGeom>
            <a:avLst/>
            <a:gdLst>
              <a:gd name="connsiteX0" fmla="*/ 0 w 5328000"/>
              <a:gd name="connsiteY0" fmla="*/ 0 h 5508000"/>
              <a:gd name="connsiteX1" fmla="*/ 5328000 w 5328000"/>
              <a:gd name="connsiteY1" fmla="*/ 0 h 5508000"/>
              <a:gd name="connsiteX2" fmla="*/ 5328000 w 5328000"/>
              <a:gd name="connsiteY2" fmla="*/ 5508000 h 5508000"/>
              <a:gd name="connsiteX3" fmla="*/ 1583584 w 5328000"/>
              <a:gd name="connsiteY3" fmla="*/ 5508000 h 5508000"/>
              <a:gd name="connsiteX4" fmla="*/ 0 w 5328000"/>
              <a:gd name="connsiteY4" fmla="*/ 4608512 h 5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8000" h="5508000">
                <a:moveTo>
                  <a:pt x="0" y="0"/>
                </a:moveTo>
                <a:lnTo>
                  <a:pt x="5328000" y="0"/>
                </a:lnTo>
                <a:lnTo>
                  <a:pt x="5328000" y="5508000"/>
                </a:lnTo>
                <a:lnTo>
                  <a:pt x="1583584" y="5508000"/>
                </a:lnTo>
                <a:lnTo>
                  <a:pt x="0" y="4608512"/>
                </a:lnTo>
                <a:close/>
              </a:path>
            </a:pathLst>
          </a:custGeom>
          <a:solidFill>
            <a:srgbClr val="FFAD00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01488" y="1046633"/>
            <a:ext cx="4967120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609900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23" userDrawn="1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9b |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ild-Platzhalter">
            <a:extLst>
              <a:ext uri="{FF2B5EF4-FFF2-40B4-BE49-F238E27FC236}">
                <a16:creationId xmlns:a16="http://schemas.microsoft.com/office/drawing/2014/main" id="{925D864D-9B5E-4B9F-A1F8-EC88506FF0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12192989" cy="6858003"/>
          </a:xfrm>
          <a:prstGeom prst="rect">
            <a:avLst/>
          </a:prstGeom>
          <a:solidFill>
            <a:srgbClr val="F0F3F7"/>
          </a:solidFill>
        </p:spPr>
        <p:txBody>
          <a:bodyPr wrap="square" tIns="0" rIns="8640000" bIns="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BD6BE55E-B7EB-42D7-F798-06B56CA973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24192" y="6597352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388A1FEC-676A-598E-051D-A1B19A705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675000"/>
            <a:ext cx="5328000" cy="5508000"/>
          </a:xfrm>
          <a:custGeom>
            <a:avLst/>
            <a:gdLst>
              <a:gd name="connsiteX0" fmla="*/ 0 w 5328000"/>
              <a:gd name="connsiteY0" fmla="*/ 0 h 5508000"/>
              <a:gd name="connsiteX1" fmla="*/ 5328000 w 5328000"/>
              <a:gd name="connsiteY1" fmla="*/ 0 h 5508000"/>
              <a:gd name="connsiteX2" fmla="*/ 5328000 w 5328000"/>
              <a:gd name="connsiteY2" fmla="*/ 5508000 h 5508000"/>
              <a:gd name="connsiteX3" fmla="*/ 1583584 w 5328000"/>
              <a:gd name="connsiteY3" fmla="*/ 5508000 h 5508000"/>
              <a:gd name="connsiteX4" fmla="*/ 0 w 5328000"/>
              <a:gd name="connsiteY4" fmla="*/ 4608512 h 5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8000" h="5508000">
                <a:moveTo>
                  <a:pt x="0" y="0"/>
                </a:moveTo>
                <a:lnTo>
                  <a:pt x="5328000" y="0"/>
                </a:lnTo>
                <a:lnTo>
                  <a:pt x="5328000" y="5508000"/>
                </a:lnTo>
                <a:lnTo>
                  <a:pt x="1583584" y="5508000"/>
                </a:lnTo>
                <a:lnTo>
                  <a:pt x="0" y="4608512"/>
                </a:lnTo>
                <a:close/>
              </a:path>
            </a:pathLst>
          </a:custGeom>
          <a:solidFill>
            <a:srgbClr val="10AD00"/>
          </a:solidFill>
        </p:spPr>
        <p:txBody>
          <a:bodyPr wrap="square" lIns="180000" tIns="792000" rIns="108000" bIns="468000" anchor="t" anchorCtr="0">
            <a:noAutofit/>
          </a:bodyPr>
          <a:lstStyle>
            <a:lvl1pPr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</a:t>
            </a:r>
          </a:p>
        </p:txBody>
      </p:sp>
      <p:sp>
        <p:nvSpPr>
          <p:cNvPr id="3" name="Dachzeile">
            <a:extLst>
              <a:ext uri="{FF2B5EF4-FFF2-40B4-BE49-F238E27FC236}">
                <a16:creationId xmlns:a16="http://schemas.microsoft.com/office/drawing/2014/main" id="{65CEDDCD-E1FB-639E-9323-19674FAFB8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46313" y="1046633"/>
            <a:ext cx="4922295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5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4822961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a |  Pink /Dunkel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25627"/>
            <a:ext cx="1439998" cy="1097475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326694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Pink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FF3E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70" y="2384884"/>
            <a:ext cx="2765856" cy="2107958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3EB5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7737697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a | Pink /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25627"/>
            <a:ext cx="1439998" cy="1097475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258218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a | Türkis /Dunkel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29020"/>
            <a:ext cx="1440000" cy="1097475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827009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a | Türkis /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29020"/>
            <a:ext cx="1440000" cy="1097475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4101490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a | Violett /Dunkel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19495"/>
            <a:ext cx="1439998" cy="1097475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453717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a | Violett /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19495"/>
            <a:ext cx="1439998" cy="1097475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806420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a | Orange /Dunkel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19495"/>
            <a:ext cx="1439998" cy="1097474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5610028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a | Orange /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19495"/>
            <a:ext cx="1439998" cy="1097474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0658042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a | Grün /Dunkel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23531"/>
            <a:ext cx="1439997" cy="1097474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277335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a | Grün /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23531"/>
            <a:ext cx="1439997" cy="1097474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921571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b |  Pink/Weiß/Dunkel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19844"/>
            <a:ext cx="1439998" cy="1096775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810798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Pink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FF3E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70" y="2384884"/>
            <a:ext cx="2765856" cy="2107958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3EB5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1466161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b |  Pink/Weiß/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19495"/>
            <a:ext cx="1439998" cy="1097474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250485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b |  Weiß/Türkis/Dunkel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19845"/>
            <a:ext cx="1439998" cy="1096775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9406203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b |  Weiß/Türkis/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19495"/>
            <a:ext cx="1439998" cy="1097475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0082736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b |  Violett/Weiß/Dunkel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897052"/>
            <a:ext cx="1439998" cy="1096775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8088397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b |  Violett/Weiß/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897052"/>
            <a:ext cx="1439998" cy="1097474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441041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b |  Orange/Weiß/Dunkel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38895"/>
            <a:ext cx="1439997" cy="1096774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818840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b |  Orange/Weiß/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38545"/>
            <a:ext cx="1439997" cy="1097474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89465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b |  Grün/Weiß/Dunkel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38894"/>
            <a:ext cx="1439998" cy="1096775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908673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V10b |  Grün/Weiß/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Zeichnung">
            <a:extLst>
              <a:ext uri="{FF2B5EF4-FFF2-40B4-BE49-F238E27FC236}">
                <a16:creationId xmlns:a16="http://schemas.microsoft.com/office/drawing/2014/main" id="{35875BFE-B8C4-0F24-17B1-F8143E9A20C0}"/>
              </a:ext>
            </a:extLst>
          </p:cNvPr>
          <p:cNvSpPr/>
          <p:nvPr userDrawn="1"/>
        </p:nvSpPr>
        <p:spPr>
          <a:xfrm>
            <a:off x="2" y="3801399"/>
            <a:ext cx="12191999" cy="3074048"/>
          </a:xfrm>
          <a:custGeom>
            <a:avLst/>
            <a:gdLst>
              <a:gd name="connsiteX0" fmla="*/ 11199109 w 12191999"/>
              <a:gd name="connsiteY0" fmla="*/ 0 h 3074048"/>
              <a:gd name="connsiteX1" fmla="*/ 11645069 w 12191999"/>
              <a:gd name="connsiteY1" fmla="*/ 0 h 3074048"/>
              <a:gd name="connsiteX2" fmla="*/ 12191999 w 12191999"/>
              <a:gd name="connsiteY2" fmla="*/ 313408 h 3074048"/>
              <a:gd name="connsiteX3" fmla="*/ 12191999 w 12191999"/>
              <a:gd name="connsiteY3" fmla="*/ 3074048 h 3074048"/>
              <a:gd name="connsiteX4" fmla="*/ 11941092 w 12191999"/>
              <a:gd name="connsiteY4" fmla="*/ 3074048 h 3074048"/>
              <a:gd name="connsiteX5" fmla="*/ 10974393 w 12191999"/>
              <a:gd name="connsiteY5" fmla="*/ 2520100 h 3074048"/>
              <a:gd name="connsiteX6" fmla="*/ 0 w 12191999"/>
              <a:gd name="connsiteY6" fmla="*/ 2520100 h 3074048"/>
              <a:gd name="connsiteX7" fmla="*/ 0 w 12191999"/>
              <a:gd name="connsiteY7" fmla="*/ 100 h 3074048"/>
              <a:gd name="connsiteX8" fmla="*/ 11199052 w 12191999"/>
              <a:gd name="connsiteY8" fmla="*/ 100 h 3074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3074048">
                <a:moveTo>
                  <a:pt x="11199109" y="0"/>
                </a:moveTo>
                <a:lnTo>
                  <a:pt x="11645069" y="0"/>
                </a:lnTo>
                <a:lnTo>
                  <a:pt x="12191999" y="313408"/>
                </a:lnTo>
                <a:lnTo>
                  <a:pt x="12191999" y="3074048"/>
                </a:lnTo>
                <a:lnTo>
                  <a:pt x="11941092" y="3074048"/>
                </a:lnTo>
                <a:lnTo>
                  <a:pt x="10974393" y="2520100"/>
                </a:lnTo>
                <a:lnTo>
                  <a:pt x="0" y="2520100"/>
                </a:lnTo>
                <a:lnTo>
                  <a:pt x="0" y="100"/>
                </a:lnTo>
                <a:lnTo>
                  <a:pt x="11199052" y="1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3D2C6FE-D61C-B661-6440-32E5520DA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88488" y="3938545"/>
            <a:ext cx="1439998" cy="1097474"/>
          </a:xfrm>
          <a:prstGeom prst="rect">
            <a:avLst/>
          </a:prstGeom>
        </p:spPr>
      </p:pic>
      <p:sp>
        <p:nvSpPr>
          <p:cNvPr id="42" name="Bild-Platzhalter">
            <a:extLst>
              <a:ext uri="{FF2B5EF4-FFF2-40B4-BE49-F238E27FC236}">
                <a16:creationId xmlns:a16="http://schemas.microsoft.com/office/drawing/2014/main" id="{AF707C2B-2479-7166-3288-70F474232AF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0 h 6858003"/>
              <a:gd name="connsiteX1" fmla="*/ 12192000 w 12192000"/>
              <a:gd name="connsiteY1" fmla="*/ 0 h 6858003"/>
              <a:gd name="connsiteX2" fmla="*/ 12192000 w 12192000"/>
              <a:gd name="connsiteY2" fmla="*/ 4153981 h 6858003"/>
              <a:gd name="connsiteX3" fmla="*/ 11634647 w 12192000"/>
              <a:gd name="connsiteY3" fmla="*/ 3834601 h 6858003"/>
              <a:gd name="connsiteX4" fmla="*/ 11568609 w 12192000"/>
              <a:gd name="connsiteY4" fmla="*/ 3834601 h 6858003"/>
              <a:gd name="connsiteX5" fmla="*/ 11568609 w 12192000"/>
              <a:gd name="connsiteY5" fmla="*/ 3834323 h 6858003"/>
              <a:gd name="connsiteX6" fmla="*/ 1 w 12192000"/>
              <a:gd name="connsiteY6" fmla="*/ 3834323 h 6858003"/>
              <a:gd name="connsiteX7" fmla="*/ 1 w 12192000"/>
              <a:gd name="connsiteY7" fmla="*/ 6282323 h 6858003"/>
              <a:gd name="connsiteX8" fmla="*/ 10982479 w 12192000"/>
              <a:gd name="connsiteY8" fmla="*/ 6282323 h 6858003"/>
              <a:gd name="connsiteX9" fmla="*/ 11987103 w 12192000"/>
              <a:gd name="connsiteY9" fmla="*/ 6858003 h 6858003"/>
              <a:gd name="connsiteX10" fmla="*/ 0 w 12192000"/>
              <a:gd name="connsiteY1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3">
                <a:moveTo>
                  <a:pt x="0" y="0"/>
                </a:moveTo>
                <a:lnTo>
                  <a:pt x="12192000" y="0"/>
                </a:lnTo>
                <a:lnTo>
                  <a:pt x="12192000" y="4153981"/>
                </a:lnTo>
                <a:lnTo>
                  <a:pt x="11634647" y="3834601"/>
                </a:lnTo>
                <a:lnTo>
                  <a:pt x="11568609" y="3834601"/>
                </a:lnTo>
                <a:lnTo>
                  <a:pt x="11568609" y="3834323"/>
                </a:lnTo>
                <a:lnTo>
                  <a:pt x="1" y="3834323"/>
                </a:lnTo>
                <a:lnTo>
                  <a:pt x="1" y="6282323"/>
                </a:lnTo>
                <a:lnTo>
                  <a:pt x="10982479" y="6282323"/>
                </a:lnTo>
                <a:lnTo>
                  <a:pt x="11987103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6BF96A2E-44AD-400D-0B4D-6114705E8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84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85EF5B79-F7D2-687F-CADB-2DB168D46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558517"/>
            <a:ext cx="9900000" cy="1498775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Dachzeile">
            <a:extLst>
              <a:ext uri="{FF2B5EF4-FFF2-40B4-BE49-F238E27FC236}">
                <a16:creationId xmlns:a16="http://schemas.microsoft.com/office/drawing/2014/main" id="{D5577A26-9C0F-8C31-F133-A9E29FFA9C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000" y="4196423"/>
            <a:ext cx="9900000" cy="34465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068360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">
            <a:extLst>
              <a:ext uri="{FF2B5EF4-FFF2-40B4-BE49-F238E27FC236}">
                <a16:creationId xmlns:a16="http://schemas.microsoft.com/office/drawing/2014/main" id="{2106A18C-398D-2D93-6E65-1B58E2AFDB25}"/>
              </a:ext>
            </a:extLst>
          </p:cNvPr>
          <p:cNvSpPr txBox="1"/>
          <p:nvPr userDrawn="1"/>
        </p:nvSpPr>
        <p:spPr>
          <a:xfrm>
            <a:off x="0" y="1927858"/>
            <a:ext cx="12192000" cy="3002285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r>
              <a:rPr lang="de-DE" sz="16600" cap="all" baseline="0" dirty="0">
                <a:solidFill>
                  <a:srgbClr val="FF3EB5"/>
                </a:solidFill>
                <a:latin typeface="Montserrat Black" pitchFamily="2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96003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Türkis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10AD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70" y="2384884"/>
            <a:ext cx="2765856" cy="2107959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10ADAA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39792923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|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>
            <a:extLst>
              <a:ext uri="{FF2B5EF4-FFF2-40B4-BE49-F238E27FC236}">
                <a16:creationId xmlns:a16="http://schemas.microsoft.com/office/drawing/2014/main" id="{C63176DC-8F54-2F9C-A9C6-885103E5B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539"/>
            <a:ext cx="1367998" cy="1041936"/>
          </a:xfrm>
          <a:prstGeom prst="rect">
            <a:avLst/>
          </a:prstGeom>
        </p:spPr>
      </p:pic>
      <p:sp>
        <p:nvSpPr>
          <p:cNvPr id="7" name="Bild-Platzhalter">
            <a:extLst>
              <a:ext uri="{FF2B5EF4-FFF2-40B4-BE49-F238E27FC236}">
                <a16:creationId xmlns:a16="http://schemas.microsoft.com/office/drawing/2014/main" id="{90D14F3C-82DE-D918-A601-F652A4F77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44072" y="1196752"/>
            <a:ext cx="4955928" cy="4751999"/>
          </a:xfrm>
          <a:prstGeom prst="rect">
            <a:avLst/>
          </a:prstGeom>
          <a:solidFill>
            <a:srgbClr val="F0F3F7"/>
          </a:solidFill>
          <a:ln>
            <a:noFill/>
          </a:ln>
        </p:spPr>
        <p:txBody>
          <a:bodyPr wrap="square" lIns="2160000" tIns="0" anchor="ctr" anchorCtr="1">
            <a:noAutofit/>
          </a:bodyPr>
          <a:lstStyle>
            <a:lvl1pPr marL="0" indent="0" algn="r">
              <a:buNone/>
              <a:defRPr sz="2400"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8" name="Bild-Nachweis">
            <a:extLst>
              <a:ext uri="{FF2B5EF4-FFF2-40B4-BE49-F238E27FC236}">
                <a16:creationId xmlns:a16="http://schemas.microsoft.com/office/drawing/2014/main" id="{A0243CC6-D0F3-9087-EA07-23D1473EA1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73919" y="572140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D57723CF-457C-CD02-E1A6-D56EA45E24F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991AD70-C74A-4FCC-B09F-F284877FBA2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-Platzhalter">
            <a:extLst>
              <a:ext uri="{FF2B5EF4-FFF2-40B4-BE49-F238E27FC236}">
                <a16:creationId xmlns:a16="http://schemas.microsoft.com/office/drawing/2014/main" id="{A4D9E76D-B228-CF70-F19D-C51127285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196752"/>
            <a:ext cx="7560000" cy="4752975"/>
          </a:xfrm>
          <a:custGeom>
            <a:avLst/>
            <a:gdLst>
              <a:gd name="connsiteX0" fmla="*/ 0 w 7560000"/>
              <a:gd name="connsiteY0" fmla="*/ 0 h 4752975"/>
              <a:gd name="connsiteX1" fmla="*/ 7560000 w 7560000"/>
              <a:gd name="connsiteY1" fmla="*/ 0 h 4752975"/>
              <a:gd name="connsiteX2" fmla="*/ 7560000 w 7560000"/>
              <a:gd name="connsiteY2" fmla="*/ 3960887 h 4752975"/>
              <a:gd name="connsiteX3" fmla="*/ 6191848 w 7560000"/>
              <a:gd name="connsiteY3" fmla="*/ 4752975 h 4752975"/>
              <a:gd name="connsiteX4" fmla="*/ 0 w 756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0000" h="4752975">
                <a:moveTo>
                  <a:pt x="0" y="0"/>
                </a:moveTo>
                <a:lnTo>
                  <a:pt x="7560000" y="0"/>
                </a:lnTo>
                <a:lnTo>
                  <a:pt x="7560000" y="3960887"/>
                </a:lnTo>
                <a:lnTo>
                  <a:pt x="6191848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065A"/>
          </a:solidFill>
        </p:spPr>
        <p:txBody>
          <a:bodyPr wrap="square" tIns="144000" bIns="144000">
            <a:noAutofit/>
          </a:bodyPr>
          <a:lstStyle>
            <a:lvl1pPr marL="542925" indent="-361950">
              <a:spcAft>
                <a:spcPts val="600"/>
              </a:spcAft>
              <a:buClr>
                <a:srgbClr val="FF3EB5"/>
              </a:buClr>
              <a:defRPr sz="2400" b="1">
                <a:solidFill>
                  <a:srgbClr val="FFFFFF"/>
                </a:solidFill>
              </a:defRPr>
            </a:lvl1pPr>
            <a:lvl2pPr marL="539750" indent="536575">
              <a:buClr>
                <a:srgbClr val="FFFFFF"/>
              </a:buClr>
              <a:defRPr sz="2400" b="1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Top 1</a:t>
            </a:r>
          </a:p>
          <a:p>
            <a:pPr lvl="1"/>
            <a:r>
              <a:rPr lang="de-DE" dirty="0"/>
              <a:t>ggf. Top 1- Unterpunkt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 der AGENDA-Folie</a:t>
            </a:r>
          </a:p>
        </p:txBody>
      </p:sp>
    </p:spTree>
    <p:extLst>
      <p:ext uri="{BB962C8B-B14F-4D97-AF65-F5344CB8AC3E}">
        <p14:creationId xmlns:p14="http://schemas.microsoft.com/office/powerpoint/2010/main" val="10393418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| Weiß-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>
            <a:extLst>
              <a:ext uri="{FF2B5EF4-FFF2-40B4-BE49-F238E27FC236}">
                <a16:creationId xmlns:a16="http://schemas.microsoft.com/office/drawing/2014/main" id="{C63176DC-8F54-2F9C-A9C6-885103E5B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539"/>
            <a:ext cx="1367998" cy="1041936"/>
          </a:xfrm>
          <a:prstGeom prst="rect">
            <a:avLst/>
          </a:prstGeom>
        </p:spPr>
      </p:pic>
      <p:sp>
        <p:nvSpPr>
          <p:cNvPr id="7" name="Bild-Platzhalter">
            <a:extLst>
              <a:ext uri="{FF2B5EF4-FFF2-40B4-BE49-F238E27FC236}">
                <a16:creationId xmlns:a16="http://schemas.microsoft.com/office/drawing/2014/main" id="{90D14F3C-82DE-D918-A601-F652A4F77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44072" y="1196752"/>
            <a:ext cx="4955928" cy="4751999"/>
          </a:xfrm>
          <a:prstGeom prst="rect">
            <a:avLst/>
          </a:prstGeom>
          <a:solidFill>
            <a:srgbClr val="F0F3F7"/>
          </a:solidFill>
          <a:ln>
            <a:noFill/>
          </a:ln>
        </p:spPr>
        <p:txBody>
          <a:bodyPr wrap="square" lIns="2160000" tIns="0" anchor="ctr" anchorCtr="1">
            <a:noAutofit/>
          </a:bodyPr>
          <a:lstStyle>
            <a:lvl1pPr marL="0" indent="0" algn="r">
              <a:buNone/>
              <a:defRPr sz="2400"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8" name="Bild-Nachweis">
            <a:extLst>
              <a:ext uri="{FF2B5EF4-FFF2-40B4-BE49-F238E27FC236}">
                <a16:creationId xmlns:a16="http://schemas.microsoft.com/office/drawing/2014/main" id="{A0243CC6-D0F3-9087-EA07-23D1473EA1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73919" y="572140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D57723CF-457C-CD02-E1A6-D56EA45E24F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5D8EB9E-8F2F-4A8C-A1D3-C13E93873BDB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-Platzhalter">
            <a:extLst>
              <a:ext uri="{FF2B5EF4-FFF2-40B4-BE49-F238E27FC236}">
                <a16:creationId xmlns:a16="http://schemas.microsoft.com/office/drawing/2014/main" id="{A4D9E76D-B228-CF70-F19D-C51127285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196752"/>
            <a:ext cx="7560000" cy="4752975"/>
          </a:xfrm>
          <a:custGeom>
            <a:avLst/>
            <a:gdLst>
              <a:gd name="connsiteX0" fmla="*/ 0 w 7560000"/>
              <a:gd name="connsiteY0" fmla="*/ 0 h 4752975"/>
              <a:gd name="connsiteX1" fmla="*/ 7560000 w 7560000"/>
              <a:gd name="connsiteY1" fmla="*/ 0 h 4752975"/>
              <a:gd name="connsiteX2" fmla="*/ 7560000 w 7560000"/>
              <a:gd name="connsiteY2" fmla="*/ 3960887 h 4752975"/>
              <a:gd name="connsiteX3" fmla="*/ 6191848 w 7560000"/>
              <a:gd name="connsiteY3" fmla="*/ 4752975 h 4752975"/>
              <a:gd name="connsiteX4" fmla="*/ 0 w 756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0000" h="4752975">
                <a:moveTo>
                  <a:pt x="0" y="0"/>
                </a:moveTo>
                <a:lnTo>
                  <a:pt x="7560000" y="0"/>
                </a:lnTo>
                <a:lnTo>
                  <a:pt x="7560000" y="3960887"/>
                </a:lnTo>
                <a:lnTo>
                  <a:pt x="6191848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144000" bIns="144000">
            <a:noAutofit/>
          </a:bodyPr>
          <a:lstStyle>
            <a:lvl1pPr marL="542925" indent="-361950">
              <a:spcAft>
                <a:spcPts val="600"/>
              </a:spcAft>
              <a:buClr>
                <a:srgbClr val="FF3EB5"/>
              </a:buClr>
              <a:defRPr sz="2400" b="1">
                <a:solidFill>
                  <a:srgbClr val="10065A"/>
                </a:solidFill>
              </a:defRPr>
            </a:lvl1pPr>
            <a:lvl2pPr marL="539750" indent="536575">
              <a:buClr>
                <a:srgbClr val="10065A"/>
              </a:buClr>
              <a:defRPr sz="2400" b="1">
                <a:solidFill>
                  <a:srgbClr val="10065A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Top 1</a:t>
            </a:r>
          </a:p>
          <a:p>
            <a:pPr lvl="1"/>
            <a:r>
              <a:rPr lang="de-DE" dirty="0"/>
              <a:t>ggf. Top 1- Unterpunkt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 der AGENDA-Folie</a:t>
            </a:r>
          </a:p>
        </p:txBody>
      </p:sp>
    </p:spTree>
    <p:extLst>
      <p:ext uri="{BB962C8B-B14F-4D97-AF65-F5344CB8AC3E}">
        <p14:creationId xmlns:p14="http://schemas.microsoft.com/office/powerpoint/2010/main" val="13744097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|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>
            <a:extLst>
              <a:ext uri="{FF2B5EF4-FFF2-40B4-BE49-F238E27FC236}">
                <a16:creationId xmlns:a16="http://schemas.microsoft.com/office/drawing/2014/main" id="{C63176DC-8F54-2F9C-A9C6-885103E5B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7" cy="1042600"/>
          </a:xfrm>
          <a:prstGeom prst="rect">
            <a:avLst/>
          </a:prstGeom>
        </p:spPr>
      </p:pic>
      <p:sp>
        <p:nvSpPr>
          <p:cNvPr id="7" name="Bild-Platzhalter">
            <a:extLst>
              <a:ext uri="{FF2B5EF4-FFF2-40B4-BE49-F238E27FC236}">
                <a16:creationId xmlns:a16="http://schemas.microsoft.com/office/drawing/2014/main" id="{90D14F3C-82DE-D918-A601-F652A4F77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44072" y="1196752"/>
            <a:ext cx="4955928" cy="4751999"/>
          </a:xfrm>
          <a:prstGeom prst="rect">
            <a:avLst/>
          </a:prstGeom>
          <a:solidFill>
            <a:srgbClr val="F0F3F7"/>
          </a:solidFill>
          <a:ln>
            <a:noFill/>
          </a:ln>
        </p:spPr>
        <p:txBody>
          <a:bodyPr wrap="square" lIns="2160000" tIns="0" anchor="ctr" anchorCtr="1">
            <a:noAutofit/>
          </a:bodyPr>
          <a:lstStyle>
            <a:lvl1pPr marL="0" indent="0" algn="r">
              <a:buNone/>
              <a:defRPr sz="2400"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8" name="Bild-Nachweis">
            <a:extLst>
              <a:ext uri="{FF2B5EF4-FFF2-40B4-BE49-F238E27FC236}">
                <a16:creationId xmlns:a16="http://schemas.microsoft.com/office/drawing/2014/main" id="{A0243CC6-D0F3-9087-EA07-23D1473EA1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73919" y="572140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D57723CF-457C-CD02-E1A6-D56EA45E24F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C7E2076-991C-4576-9D68-24476DE4460D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-Platzhalter">
            <a:extLst>
              <a:ext uri="{FF2B5EF4-FFF2-40B4-BE49-F238E27FC236}">
                <a16:creationId xmlns:a16="http://schemas.microsoft.com/office/drawing/2014/main" id="{A4D9E76D-B228-CF70-F19D-C51127285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196752"/>
            <a:ext cx="7560000" cy="4752975"/>
          </a:xfrm>
          <a:custGeom>
            <a:avLst/>
            <a:gdLst>
              <a:gd name="connsiteX0" fmla="*/ 0 w 7560000"/>
              <a:gd name="connsiteY0" fmla="*/ 0 h 4752975"/>
              <a:gd name="connsiteX1" fmla="*/ 7560000 w 7560000"/>
              <a:gd name="connsiteY1" fmla="*/ 0 h 4752975"/>
              <a:gd name="connsiteX2" fmla="*/ 7560000 w 7560000"/>
              <a:gd name="connsiteY2" fmla="*/ 3960887 h 4752975"/>
              <a:gd name="connsiteX3" fmla="*/ 6191848 w 7560000"/>
              <a:gd name="connsiteY3" fmla="*/ 4752975 h 4752975"/>
              <a:gd name="connsiteX4" fmla="*/ 0 w 756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0000" h="4752975">
                <a:moveTo>
                  <a:pt x="0" y="0"/>
                </a:moveTo>
                <a:lnTo>
                  <a:pt x="7560000" y="0"/>
                </a:lnTo>
                <a:lnTo>
                  <a:pt x="7560000" y="3960887"/>
                </a:lnTo>
                <a:lnTo>
                  <a:pt x="6191848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069F"/>
          </a:solidFill>
        </p:spPr>
        <p:txBody>
          <a:bodyPr wrap="square" tIns="144000" bIns="144000">
            <a:noAutofit/>
          </a:bodyPr>
          <a:lstStyle>
            <a:lvl1pPr marL="542925" indent="-361950">
              <a:spcAft>
                <a:spcPts val="600"/>
              </a:spcAft>
              <a:buClr>
                <a:srgbClr val="FF3EB5"/>
              </a:buClr>
              <a:defRPr sz="2400" b="1">
                <a:solidFill>
                  <a:srgbClr val="FFFFFF"/>
                </a:solidFill>
              </a:defRPr>
            </a:lvl1pPr>
            <a:lvl2pPr marL="539750" indent="536575">
              <a:buClr>
                <a:srgbClr val="FFFFFF"/>
              </a:buClr>
              <a:defRPr sz="2400" b="1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Top 1</a:t>
            </a:r>
          </a:p>
          <a:p>
            <a:pPr lvl="1"/>
            <a:r>
              <a:rPr lang="de-DE" dirty="0"/>
              <a:t>ggf. Top 1- Unterpunkt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 sz="320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AGENDA-Folie</a:t>
            </a:r>
          </a:p>
        </p:txBody>
      </p:sp>
    </p:spTree>
    <p:extLst>
      <p:ext uri="{BB962C8B-B14F-4D97-AF65-F5344CB8AC3E}">
        <p14:creationId xmlns:p14="http://schemas.microsoft.com/office/powerpoint/2010/main" val="1077814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| Weiß-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>
            <a:extLst>
              <a:ext uri="{FF2B5EF4-FFF2-40B4-BE49-F238E27FC236}">
                <a16:creationId xmlns:a16="http://schemas.microsoft.com/office/drawing/2014/main" id="{C63176DC-8F54-2F9C-A9C6-885103E5B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7" cy="1042600"/>
          </a:xfrm>
          <a:prstGeom prst="rect">
            <a:avLst/>
          </a:prstGeom>
        </p:spPr>
      </p:pic>
      <p:sp>
        <p:nvSpPr>
          <p:cNvPr id="7" name="Bild-Platzhalter">
            <a:extLst>
              <a:ext uri="{FF2B5EF4-FFF2-40B4-BE49-F238E27FC236}">
                <a16:creationId xmlns:a16="http://schemas.microsoft.com/office/drawing/2014/main" id="{90D14F3C-82DE-D918-A601-F652A4F77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44072" y="1196752"/>
            <a:ext cx="4955928" cy="4751999"/>
          </a:xfrm>
          <a:prstGeom prst="rect">
            <a:avLst/>
          </a:prstGeom>
          <a:solidFill>
            <a:srgbClr val="F0F3F7"/>
          </a:solidFill>
          <a:ln>
            <a:noFill/>
          </a:ln>
        </p:spPr>
        <p:txBody>
          <a:bodyPr wrap="square" lIns="2160000" tIns="0" anchor="ctr" anchorCtr="1">
            <a:noAutofit/>
          </a:bodyPr>
          <a:lstStyle>
            <a:lvl1pPr marL="0" indent="0" algn="r">
              <a:buNone/>
              <a:defRPr sz="2400"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8" name="Bild-Nachweis">
            <a:extLst>
              <a:ext uri="{FF2B5EF4-FFF2-40B4-BE49-F238E27FC236}">
                <a16:creationId xmlns:a16="http://schemas.microsoft.com/office/drawing/2014/main" id="{A0243CC6-D0F3-9087-EA07-23D1473EA1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73919" y="572140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D57723CF-457C-CD02-E1A6-D56EA45E24F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C801237-C0F6-4739-8CDE-F495D71ECEBE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-Platzhalter">
            <a:extLst>
              <a:ext uri="{FF2B5EF4-FFF2-40B4-BE49-F238E27FC236}">
                <a16:creationId xmlns:a16="http://schemas.microsoft.com/office/drawing/2014/main" id="{A4D9E76D-B228-CF70-F19D-C51127285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196752"/>
            <a:ext cx="7560000" cy="4752975"/>
          </a:xfrm>
          <a:custGeom>
            <a:avLst/>
            <a:gdLst>
              <a:gd name="connsiteX0" fmla="*/ 0 w 7560000"/>
              <a:gd name="connsiteY0" fmla="*/ 0 h 4752975"/>
              <a:gd name="connsiteX1" fmla="*/ 7560000 w 7560000"/>
              <a:gd name="connsiteY1" fmla="*/ 0 h 4752975"/>
              <a:gd name="connsiteX2" fmla="*/ 7560000 w 7560000"/>
              <a:gd name="connsiteY2" fmla="*/ 3960887 h 4752975"/>
              <a:gd name="connsiteX3" fmla="*/ 6191848 w 7560000"/>
              <a:gd name="connsiteY3" fmla="*/ 4752975 h 4752975"/>
              <a:gd name="connsiteX4" fmla="*/ 0 w 756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0000" h="4752975">
                <a:moveTo>
                  <a:pt x="0" y="0"/>
                </a:moveTo>
                <a:lnTo>
                  <a:pt x="7560000" y="0"/>
                </a:lnTo>
                <a:lnTo>
                  <a:pt x="7560000" y="3960887"/>
                </a:lnTo>
                <a:lnTo>
                  <a:pt x="6191848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144000" bIns="144000">
            <a:noAutofit/>
          </a:bodyPr>
          <a:lstStyle>
            <a:lvl1pPr marL="542925" indent="-361950">
              <a:spcAft>
                <a:spcPts val="600"/>
              </a:spcAft>
              <a:buClr>
                <a:srgbClr val="FF3EB5"/>
              </a:buClr>
              <a:defRPr sz="2400" b="1">
                <a:solidFill>
                  <a:srgbClr val="10069F"/>
                </a:solidFill>
              </a:defRPr>
            </a:lvl1pPr>
            <a:lvl2pPr marL="539750" indent="536575">
              <a:buClr>
                <a:srgbClr val="10069F"/>
              </a:buClr>
              <a:defRPr sz="2400" b="1">
                <a:solidFill>
                  <a:srgbClr val="1006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Top 1</a:t>
            </a:r>
          </a:p>
          <a:p>
            <a:pPr lvl="1"/>
            <a:r>
              <a:rPr lang="de-DE" dirty="0"/>
              <a:t>ggf. Top 1- Unterpunkt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 sz="320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AGENDA-Folie</a:t>
            </a:r>
          </a:p>
        </p:txBody>
      </p:sp>
    </p:spTree>
    <p:extLst>
      <p:ext uri="{BB962C8B-B14F-4D97-AF65-F5344CB8AC3E}">
        <p14:creationId xmlns:p14="http://schemas.microsoft.com/office/powerpoint/2010/main" val="9238174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|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>
            <a:extLst>
              <a:ext uri="{FF2B5EF4-FFF2-40B4-BE49-F238E27FC236}">
                <a16:creationId xmlns:a16="http://schemas.microsoft.com/office/drawing/2014/main" id="{C63176DC-8F54-2F9C-A9C6-885103E5B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539"/>
            <a:ext cx="1367998" cy="1041936"/>
          </a:xfrm>
          <a:prstGeom prst="rect">
            <a:avLst/>
          </a:prstGeom>
        </p:spPr>
      </p:pic>
      <p:sp>
        <p:nvSpPr>
          <p:cNvPr id="7" name="Bild-Platzhalter">
            <a:extLst>
              <a:ext uri="{FF2B5EF4-FFF2-40B4-BE49-F238E27FC236}">
                <a16:creationId xmlns:a16="http://schemas.microsoft.com/office/drawing/2014/main" id="{90D14F3C-82DE-D918-A601-F652A4F77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44072" y="1196752"/>
            <a:ext cx="4955928" cy="4751999"/>
          </a:xfrm>
          <a:prstGeom prst="rect">
            <a:avLst/>
          </a:prstGeom>
          <a:solidFill>
            <a:srgbClr val="F0F3F7"/>
          </a:solidFill>
          <a:ln>
            <a:noFill/>
          </a:ln>
        </p:spPr>
        <p:txBody>
          <a:bodyPr wrap="square" lIns="2160000" tIns="0" anchor="ctr" anchorCtr="1">
            <a:noAutofit/>
          </a:bodyPr>
          <a:lstStyle>
            <a:lvl1pPr marL="0" indent="0" algn="r">
              <a:buNone/>
              <a:defRPr sz="2400"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8" name="Bild-Nachweis">
            <a:extLst>
              <a:ext uri="{FF2B5EF4-FFF2-40B4-BE49-F238E27FC236}">
                <a16:creationId xmlns:a16="http://schemas.microsoft.com/office/drawing/2014/main" id="{A0243CC6-D0F3-9087-EA07-23D1473EA1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73919" y="572140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D57723CF-457C-CD02-E1A6-D56EA45E24F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1B5F5DA-6DD5-4A09-96E4-45271E9350BF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-Platzhalter">
            <a:extLst>
              <a:ext uri="{FF2B5EF4-FFF2-40B4-BE49-F238E27FC236}">
                <a16:creationId xmlns:a16="http://schemas.microsoft.com/office/drawing/2014/main" id="{A4D9E76D-B228-CF70-F19D-C51127285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196752"/>
            <a:ext cx="7560000" cy="4752975"/>
          </a:xfrm>
          <a:custGeom>
            <a:avLst/>
            <a:gdLst>
              <a:gd name="connsiteX0" fmla="*/ 0 w 7560000"/>
              <a:gd name="connsiteY0" fmla="*/ 0 h 4752975"/>
              <a:gd name="connsiteX1" fmla="*/ 7560000 w 7560000"/>
              <a:gd name="connsiteY1" fmla="*/ 0 h 4752975"/>
              <a:gd name="connsiteX2" fmla="*/ 7560000 w 7560000"/>
              <a:gd name="connsiteY2" fmla="*/ 3960887 h 4752975"/>
              <a:gd name="connsiteX3" fmla="*/ 6191848 w 7560000"/>
              <a:gd name="connsiteY3" fmla="*/ 4752975 h 4752975"/>
              <a:gd name="connsiteX4" fmla="*/ 0 w 756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0000" h="4752975">
                <a:moveTo>
                  <a:pt x="0" y="0"/>
                </a:moveTo>
                <a:lnTo>
                  <a:pt x="7560000" y="0"/>
                </a:lnTo>
                <a:lnTo>
                  <a:pt x="7560000" y="3960887"/>
                </a:lnTo>
                <a:lnTo>
                  <a:pt x="6191848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3EB5"/>
          </a:solidFill>
        </p:spPr>
        <p:txBody>
          <a:bodyPr wrap="square" tIns="144000" bIns="144000">
            <a:noAutofit/>
          </a:bodyPr>
          <a:lstStyle>
            <a:lvl1pPr marL="542925" indent="-361950">
              <a:spcAft>
                <a:spcPts val="600"/>
              </a:spcAft>
              <a:buClr>
                <a:srgbClr val="FFFFFF"/>
              </a:buClr>
              <a:defRPr lang="de-DE" sz="2400" b="1" kern="1200" dirty="0">
                <a:solidFill>
                  <a:srgbClr val="FFFFF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539750" indent="536575">
              <a:buClr>
                <a:srgbClr val="FFFFFF"/>
              </a:buClr>
              <a:defRPr sz="2400" b="1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marL="542925" lvl="0" indent="-3619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10065A"/>
              </a:buClr>
              <a:buFont typeface="VCI_Symbole" panose="02000503000000000000" pitchFamily="2" charset="2"/>
              <a:buChar char=""/>
            </a:pPr>
            <a:r>
              <a:rPr lang="de-DE" dirty="0"/>
              <a:t>Top 1</a:t>
            </a:r>
          </a:p>
          <a:p>
            <a:pPr lvl="1"/>
            <a:r>
              <a:rPr lang="de-DE" dirty="0"/>
              <a:t>ggf. Top 1- Unterpunkt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 der AGENDA-Folie</a:t>
            </a:r>
          </a:p>
        </p:txBody>
      </p:sp>
    </p:spTree>
    <p:extLst>
      <p:ext uri="{BB962C8B-B14F-4D97-AF65-F5344CB8AC3E}">
        <p14:creationId xmlns:p14="http://schemas.microsoft.com/office/powerpoint/2010/main" val="599772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|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>
            <a:extLst>
              <a:ext uri="{FF2B5EF4-FFF2-40B4-BE49-F238E27FC236}">
                <a16:creationId xmlns:a16="http://schemas.microsoft.com/office/drawing/2014/main" id="{C63176DC-8F54-2F9C-A9C6-885103E5B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539"/>
            <a:ext cx="1367998" cy="1041936"/>
          </a:xfrm>
          <a:prstGeom prst="rect">
            <a:avLst/>
          </a:prstGeom>
        </p:spPr>
      </p:pic>
      <p:sp>
        <p:nvSpPr>
          <p:cNvPr id="7" name="Bild-Platzhalter">
            <a:extLst>
              <a:ext uri="{FF2B5EF4-FFF2-40B4-BE49-F238E27FC236}">
                <a16:creationId xmlns:a16="http://schemas.microsoft.com/office/drawing/2014/main" id="{90D14F3C-82DE-D918-A601-F652A4F77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44072" y="1196752"/>
            <a:ext cx="4955928" cy="4751999"/>
          </a:xfrm>
          <a:prstGeom prst="rect">
            <a:avLst/>
          </a:prstGeom>
          <a:solidFill>
            <a:srgbClr val="F0F3F7"/>
          </a:solidFill>
          <a:ln>
            <a:noFill/>
          </a:ln>
        </p:spPr>
        <p:txBody>
          <a:bodyPr wrap="square" lIns="2160000" tIns="0" anchor="ctr" anchorCtr="1">
            <a:noAutofit/>
          </a:bodyPr>
          <a:lstStyle>
            <a:lvl1pPr marL="0" indent="0" algn="r">
              <a:buNone/>
              <a:defRPr sz="2400"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8" name="Bild-Nachweis">
            <a:extLst>
              <a:ext uri="{FF2B5EF4-FFF2-40B4-BE49-F238E27FC236}">
                <a16:creationId xmlns:a16="http://schemas.microsoft.com/office/drawing/2014/main" id="{A0243CC6-D0F3-9087-EA07-23D1473EA1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73919" y="572140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D57723CF-457C-CD02-E1A6-D56EA45E24F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B75F7F9-D7C6-4B63-A1F3-4DEBF6C84FF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-Platzhalter">
            <a:extLst>
              <a:ext uri="{FF2B5EF4-FFF2-40B4-BE49-F238E27FC236}">
                <a16:creationId xmlns:a16="http://schemas.microsoft.com/office/drawing/2014/main" id="{A4D9E76D-B228-CF70-F19D-C51127285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196752"/>
            <a:ext cx="7560000" cy="4752975"/>
          </a:xfrm>
          <a:custGeom>
            <a:avLst/>
            <a:gdLst>
              <a:gd name="connsiteX0" fmla="*/ 0 w 7560000"/>
              <a:gd name="connsiteY0" fmla="*/ 0 h 4752975"/>
              <a:gd name="connsiteX1" fmla="*/ 7560000 w 7560000"/>
              <a:gd name="connsiteY1" fmla="*/ 0 h 4752975"/>
              <a:gd name="connsiteX2" fmla="*/ 7560000 w 7560000"/>
              <a:gd name="connsiteY2" fmla="*/ 3960887 h 4752975"/>
              <a:gd name="connsiteX3" fmla="*/ 6191848 w 7560000"/>
              <a:gd name="connsiteY3" fmla="*/ 4752975 h 4752975"/>
              <a:gd name="connsiteX4" fmla="*/ 0 w 756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0000" h="4752975">
                <a:moveTo>
                  <a:pt x="0" y="0"/>
                </a:moveTo>
                <a:lnTo>
                  <a:pt x="7560000" y="0"/>
                </a:lnTo>
                <a:lnTo>
                  <a:pt x="7560000" y="3960887"/>
                </a:lnTo>
                <a:lnTo>
                  <a:pt x="6191848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3EB5"/>
          </a:solidFill>
        </p:spPr>
        <p:txBody>
          <a:bodyPr wrap="square" tIns="144000" bIns="144000">
            <a:noAutofit/>
          </a:bodyPr>
          <a:lstStyle>
            <a:lvl1pPr marL="542925" indent="-361950">
              <a:spcAft>
                <a:spcPts val="600"/>
              </a:spcAft>
              <a:buClr>
                <a:srgbClr val="10069F"/>
              </a:buClr>
              <a:defRPr lang="de-DE" sz="2400" b="1" kern="1200" dirty="0">
                <a:solidFill>
                  <a:srgbClr val="FFFFF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539750" indent="536575">
              <a:buClr>
                <a:srgbClr val="FFFFFF"/>
              </a:buClr>
              <a:defRPr sz="2400" b="1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marL="542925" lvl="0" indent="-3619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10065A"/>
              </a:buClr>
              <a:buFont typeface="VCI_Symbole" panose="02000503000000000000" pitchFamily="2" charset="2"/>
              <a:buChar char=""/>
            </a:pPr>
            <a:r>
              <a:rPr lang="de-DE" dirty="0"/>
              <a:t>Top 1</a:t>
            </a:r>
          </a:p>
          <a:p>
            <a:pPr lvl="1"/>
            <a:r>
              <a:rPr lang="de-DE" dirty="0"/>
              <a:t>ggf. Top 1- Unterpunkt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 sz="320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AGENDA-Folie</a:t>
            </a:r>
          </a:p>
        </p:txBody>
      </p:sp>
    </p:spTree>
    <p:extLst>
      <p:ext uri="{BB962C8B-B14F-4D97-AF65-F5344CB8AC3E}">
        <p14:creationId xmlns:p14="http://schemas.microsoft.com/office/powerpoint/2010/main" val="35260775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| Tü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>
            <a:extLst>
              <a:ext uri="{FF2B5EF4-FFF2-40B4-BE49-F238E27FC236}">
                <a16:creationId xmlns:a16="http://schemas.microsoft.com/office/drawing/2014/main" id="{C63176DC-8F54-2F9C-A9C6-885103E5B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539"/>
            <a:ext cx="1367999" cy="1041937"/>
          </a:xfrm>
          <a:prstGeom prst="rect">
            <a:avLst/>
          </a:prstGeom>
        </p:spPr>
      </p:pic>
      <p:sp>
        <p:nvSpPr>
          <p:cNvPr id="7" name="Bild-Platzhalter">
            <a:extLst>
              <a:ext uri="{FF2B5EF4-FFF2-40B4-BE49-F238E27FC236}">
                <a16:creationId xmlns:a16="http://schemas.microsoft.com/office/drawing/2014/main" id="{90D14F3C-82DE-D918-A601-F652A4F77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44072" y="1196752"/>
            <a:ext cx="4955928" cy="4751999"/>
          </a:xfrm>
          <a:prstGeom prst="rect">
            <a:avLst/>
          </a:prstGeom>
          <a:solidFill>
            <a:srgbClr val="F0F3F7"/>
          </a:solidFill>
          <a:ln>
            <a:noFill/>
          </a:ln>
        </p:spPr>
        <p:txBody>
          <a:bodyPr wrap="square" lIns="2160000" tIns="0" anchor="ctr" anchorCtr="1">
            <a:noAutofit/>
          </a:bodyPr>
          <a:lstStyle>
            <a:lvl1pPr marL="0" indent="0" algn="r">
              <a:buNone/>
              <a:defRPr sz="2400"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8" name="Bild-Nachweis">
            <a:extLst>
              <a:ext uri="{FF2B5EF4-FFF2-40B4-BE49-F238E27FC236}">
                <a16:creationId xmlns:a16="http://schemas.microsoft.com/office/drawing/2014/main" id="{A0243CC6-D0F3-9087-EA07-23D1473EA1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73919" y="572140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D57723CF-457C-CD02-E1A6-D56EA45E24F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D53BF7A-F134-4EDA-9BAF-50C76B00EB3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-Platzhalter">
            <a:extLst>
              <a:ext uri="{FF2B5EF4-FFF2-40B4-BE49-F238E27FC236}">
                <a16:creationId xmlns:a16="http://schemas.microsoft.com/office/drawing/2014/main" id="{A4D9E76D-B228-CF70-F19D-C51127285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196975"/>
            <a:ext cx="7560000" cy="4752975"/>
          </a:xfrm>
          <a:custGeom>
            <a:avLst/>
            <a:gdLst>
              <a:gd name="connsiteX0" fmla="*/ 0 w 7560000"/>
              <a:gd name="connsiteY0" fmla="*/ 0 h 4752975"/>
              <a:gd name="connsiteX1" fmla="*/ 7560000 w 7560000"/>
              <a:gd name="connsiteY1" fmla="*/ 0 h 4752975"/>
              <a:gd name="connsiteX2" fmla="*/ 7560000 w 7560000"/>
              <a:gd name="connsiteY2" fmla="*/ 3960887 h 4752975"/>
              <a:gd name="connsiteX3" fmla="*/ 6191848 w 7560000"/>
              <a:gd name="connsiteY3" fmla="*/ 4752975 h 4752975"/>
              <a:gd name="connsiteX4" fmla="*/ 0 w 756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0000" h="4752975">
                <a:moveTo>
                  <a:pt x="0" y="0"/>
                </a:moveTo>
                <a:lnTo>
                  <a:pt x="7560000" y="0"/>
                </a:lnTo>
                <a:lnTo>
                  <a:pt x="7560000" y="3960887"/>
                </a:lnTo>
                <a:lnTo>
                  <a:pt x="6191848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ADAA"/>
          </a:solidFill>
        </p:spPr>
        <p:txBody>
          <a:bodyPr wrap="square" tIns="144000" bIns="144000">
            <a:noAutofit/>
          </a:bodyPr>
          <a:lstStyle>
            <a:lvl1pPr marL="542925" indent="-361950">
              <a:spcAft>
                <a:spcPts val="600"/>
              </a:spcAft>
              <a:buClr>
                <a:srgbClr val="FFFFFF"/>
              </a:buClr>
              <a:defRPr lang="de-DE" sz="2400" b="1" kern="1200" dirty="0">
                <a:solidFill>
                  <a:srgbClr val="FFFFF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539750" indent="536575">
              <a:buClr>
                <a:srgbClr val="FFFFFF"/>
              </a:buClr>
              <a:defRPr sz="2400" b="1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marL="542925" lvl="0" indent="-3619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10065A"/>
              </a:buClr>
              <a:buFont typeface="VCI_Symbole" panose="02000503000000000000" pitchFamily="2" charset="2"/>
              <a:buChar char=""/>
            </a:pPr>
            <a:r>
              <a:rPr lang="de-DE" dirty="0"/>
              <a:t>Top 1</a:t>
            </a:r>
          </a:p>
          <a:p>
            <a:pPr lvl="1"/>
            <a:r>
              <a:rPr lang="de-DE" dirty="0"/>
              <a:t>ggf. Top 1- Unterpunkt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 der AGENDA-Folie</a:t>
            </a:r>
          </a:p>
        </p:txBody>
      </p:sp>
    </p:spTree>
    <p:extLst>
      <p:ext uri="{BB962C8B-B14F-4D97-AF65-F5344CB8AC3E}">
        <p14:creationId xmlns:p14="http://schemas.microsoft.com/office/powerpoint/2010/main" val="262172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|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>
            <a:extLst>
              <a:ext uri="{FF2B5EF4-FFF2-40B4-BE49-F238E27FC236}">
                <a16:creationId xmlns:a16="http://schemas.microsoft.com/office/drawing/2014/main" id="{C63176DC-8F54-2F9C-A9C6-885103E5B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539"/>
            <a:ext cx="1368000" cy="1041937"/>
          </a:xfrm>
          <a:prstGeom prst="rect">
            <a:avLst/>
          </a:prstGeom>
        </p:spPr>
      </p:pic>
      <p:sp>
        <p:nvSpPr>
          <p:cNvPr id="7" name="Bild-Platzhalter">
            <a:extLst>
              <a:ext uri="{FF2B5EF4-FFF2-40B4-BE49-F238E27FC236}">
                <a16:creationId xmlns:a16="http://schemas.microsoft.com/office/drawing/2014/main" id="{90D14F3C-82DE-D918-A601-F652A4F77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44072" y="1196752"/>
            <a:ext cx="4955928" cy="4751999"/>
          </a:xfrm>
          <a:prstGeom prst="rect">
            <a:avLst/>
          </a:prstGeom>
          <a:solidFill>
            <a:srgbClr val="F0F3F7"/>
          </a:solidFill>
          <a:ln>
            <a:noFill/>
          </a:ln>
        </p:spPr>
        <p:txBody>
          <a:bodyPr wrap="square" lIns="2160000" tIns="0" anchor="ctr" anchorCtr="1">
            <a:noAutofit/>
          </a:bodyPr>
          <a:lstStyle>
            <a:lvl1pPr marL="0" indent="0" algn="r">
              <a:buNone/>
              <a:defRPr sz="2400"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B3B0A940-B71C-B6F2-2423-7F87B6743CD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73919" y="572140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E94E1E0-276C-47AF-AFA7-D683B3297AA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-Platzhalter">
            <a:extLst>
              <a:ext uri="{FF2B5EF4-FFF2-40B4-BE49-F238E27FC236}">
                <a16:creationId xmlns:a16="http://schemas.microsoft.com/office/drawing/2014/main" id="{A4D9E76D-B228-CF70-F19D-C51127285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184433"/>
            <a:ext cx="7560000" cy="4752975"/>
          </a:xfrm>
          <a:custGeom>
            <a:avLst/>
            <a:gdLst>
              <a:gd name="connsiteX0" fmla="*/ 0 w 7560000"/>
              <a:gd name="connsiteY0" fmla="*/ 0 h 4752975"/>
              <a:gd name="connsiteX1" fmla="*/ 7560000 w 7560000"/>
              <a:gd name="connsiteY1" fmla="*/ 0 h 4752975"/>
              <a:gd name="connsiteX2" fmla="*/ 7560000 w 7560000"/>
              <a:gd name="connsiteY2" fmla="*/ 3960887 h 4752975"/>
              <a:gd name="connsiteX3" fmla="*/ 6191848 w 7560000"/>
              <a:gd name="connsiteY3" fmla="*/ 4752975 h 4752975"/>
              <a:gd name="connsiteX4" fmla="*/ 0 w 756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0000" h="4752975">
                <a:moveTo>
                  <a:pt x="0" y="0"/>
                </a:moveTo>
                <a:lnTo>
                  <a:pt x="7560000" y="0"/>
                </a:lnTo>
                <a:lnTo>
                  <a:pt x="7560000" y="3960887"/>
                </a:lnTo>
                <a:lnTo>
                  <a:pt x="6191848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8C3E9F"/>
          </a:solidFill>
        </p:spPr>
        <p:txBody>
          <a:bodyPr wrap="square" tIns="144000" bIns="144000">
            <a:noAutofit/>
          </a:bodyPr>
          <a:lstStyle>
            <a:lvl1pPr marL="542925" indent="-361950">
              <a:spcAft>
                <a:spcPts val="600"/>
              </a:spcAft>
              <a:buClr>
                <a:srgbClr val="10AD00"/>
              </a:buClr>
              <a:defRPr sz="2400" b="1">
                <a:solidFill>
                  <a:srgbClr val="FFFFFF"/>
                </a:solidFill>
              </a:defRPr>
            </a:lvl1pPr>
            <a:lvl2pPr marL="539750" indent="536575">
              <a:buClr>
                <a:srgbClr val="FFFFFF"/>
              </a:buClr>
              <a:defRPr sz="2400" b="1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Top 1</a:t>
            </a:r>
          </a:p>
          <a:p>
            <a:pPr lvl="1"/>
            <a:r>
              <a:rPr lang="de-DE" dirty="0"/>
              <a:t>ggf. Top 1- Unterpunkt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 der AGENDA-Folie</a:t>
            </a:r>
          </a:p>
        </p:txBody>
      </p:sp>
    </p:spTree>
    <p:extLst>
      <p:ext uri="{BB962C8B-B14F-4D97-AF65-F5344CB8AC3E}">
        <p14:creationId xmlns:p14="http://schemas.microsoft.com/office/powerpoint/2010/main" val="4124411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|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>
            <a:extLst>
              <a:ext uri="{FF2B5EF4-FFF2-40B4-BE49-F238E27FC236}">
                <a16:creationId xmlns:a16="http://schemas.microsoft.com/office/drawing/2014/main" id="{C63176DC-8F54-2F9C-A9C6-885103E5B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539"/>
            <a:ext cx="1367999" cy="1041937"/>
          </a:xfrm>
          <a:prstGeom prst="rect">
            <a:avLst/>
          </a:prstGeom>
        </p:spPr>
      </p:pic>
      <p:sp>
        <p:nvSpPr>
          <p:cNvPr id="7" name="Bild-Platzhalter">
            <a:extLst>
              <a:ext uri="{FF2B5EF4-FFF2-40B4-BE49-F238E27FC236}">
                <a16:creationId xmlns:a16="http://schemas.microsoft.com/office/drawing/2014/main" id="{90D14F3C-82DE-D918-A601-F652A4F77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44072" y="1196752"/>
            <a:ext cx="4955928" cy="4751999"/>
          </a:xfrm>
          <a:prstGeom prst="rect">
            <a:avLst/>
          </a:prstGeom>
          <a:solidFill>
            <a:srgbClr val="F0F3F7"/>
          </a:solidFill>
          <a:ln>
            <a:noFill/>
          </a:ln>
        </p:spPr>
        <p:txBody>
          <a:bodyPr wrap="square" lIns="2160000" tIns="0" anchor="ctr" anchorCtr="1">
            <a:noAutofit/>
          </a:bodyPr>
          <a:lstStyle>
            <a:lvl1pPr marL="0" indent="0" algn="r">
              <a:buNone/>
              <a:defRPr sz="2400"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8" name="Bild-Nachweis">
            <a:extLst>
              <a:ext uri="{FF2B5EF4-FFF2-40B4-BE49-F238E27FC236}">
                <a16:creationId xmlns:a16="http://schemas.microsoft.com/office/drawing/2014/main" id="{A0243CC6-D0F3-9087-EA07-23D1473EA1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73919" y="572140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D57723CF-457C-CD02-E1A6-D56EA45E24F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7CFED0-2797-464B-A918-7B53D855028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-Platzhalter">
            <a:extLst>
              <a:ext uri="{FF2B5EF4-FFF2-40B4-BE49-F238E27FC236}">
                <a16:creationId xmlns:a16="http://schemas.microsoft.com/office/drawing/2014/main" id="{A4D9E76D-B228-CF70-F19D-C51127285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196975"/>
            <a:ext cx="7560000" cy="4752975"/>
          </a:xfrm>
          <a:custGeom>
            <a:avLst/>
            <a:gdLst>
              <a:gd name="connsiteX0" fmla="*/ 0 w 7560000"/>
              <a:gd name="connsiteY0" fmla="*/ 0 h 4752975"/>
              <a:gd name="connsiteX1" fmla="*/ 7560000 w 7560000"/>
              <a:gd name="connsiteY1" fmla="*/ 0 h 4752975"/>
              <a:gd name="connsiteX2" fmla="*/ 7560000 w 7560000"/>
              <a:gd name="connsiteY2" fmla="*/ 3960887 h 4752975"/>
              <a:gd name="connsiteX3" fmla="*/ 6191848 w 7560000"/>
              <a:gd name="connsiteY3" fmla="*/ 4752975 h 4752975"/>
              <a:gd name="connsiteX4" fmla="*/ 0 w 756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0000" h="4752975">
                <a:moveTo>
                  <a:pt x="0" y="0"/>
                </a:moveTo>
                <a:lnTo>
                  <a:pt x="7560000" y="0"/>
                </a:lnTo>
                <a:lnTo>
                  <a:pt x="7560000" y="3960887"/>
                </a:lnTo>
                <a:lnTo>
                  <a:pt x="6191848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4414"/>
          </a:solidFill>
        </p:spPr>
        <p:txBody>
          <a:bodyPr wrap="square" tIns="144000" bIns="144000">
            <a:noAutofit/>
          </a:bodyPr>
          <a:lstStyle>
            <a:lvl1pPr marL="542925" indent="-361950">
              <a:spcAft>
                <a:spcPts val="600"/>
              </a:spcAft>
              <a:buClr>
                <a:srgbClr val="FFFFFF"/>
              </a:buClr>
              <a:defRPr lang="de-DE" sz="2400" b="1" kern="1200" dirty="0">
                <a:solidFill>
                  <a:srgbClr val="FFFFF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539750" indent="536575">
              <a:buClr>
                <a:srgbClr val="FFFFFF"/>
              </a:buClr>
              <a:defRPr sz="2400" b="1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marL="542925" lvl="0" indent="-3619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10065A"/>
              </a:buClr>
              <a:buFont typeface="VCI_Symbole" panose="02000503000000000000" pitchFamily="2" charset="2"/>
              <a:buChar char=""/>
            </a:pPr>
            <a:r>
              <a:rPr lang="de-DE" dirty="0"/>
              <a:t>Top 1</a:t>
            </a:r>
          </a:p>
          <a:p>
            <a:pPr lvl="1"/>
            <a:r>
              <a:rPr lang="de-DE" dirty="0"/>
              <a:t>ggf. Top 1- Unterpunkt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 der AGENDA-Folie</a:t>
            </a:r>
          </a:p>
        </p:txBody>
      </p:sp>
    </p:spTree>
    <p:extLst>
      <p:ext uri="{BB962C8B-B14F-4D97-AF65-F5344CB8AC3E}">
        <p14:creationId xmlns:p14="http://schemas.microsoft.com/office/powerpoint/2010/main" val="713543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|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>
            <a:extLst>
              <a:ext uri="{FF2B5EF4-FFF2-40B4-BE49-F238E27FC236}">
                <a16:creationId xmlns:a16="http://schemas.microsoft.com/office/drawing/2014/main" id="{C63176DC-8F54-2F9C-A9C6-885103E5B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539"/>
            <a:ext cx="1367999" cy="1041937"/>
          </a:xfrm>
          <a:prstGeom prst="rect">
            <a:avLst/>
          </a:prstGeom>
        </p:spPr>
      </p:pic>
      <p:sp>
        <p:nvSpPr>
          <p:cNvPr id="7" name="Bild-Platzhalter">
            <a:extLst>
              <a:ext uri="{FF2B5EF4-FFF2-40B4-BE49-F238E27FC236}">
                <a16:creationId xmlns:a16="http://schemas.microsoft.com/office/drawing/2014/main" id="{90D14F3C-82DE-D918-A601-F652A4F77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44072" y="1196752"/>
            <a:ext cx="4955928" cy="4751999"/>
          </a:xfrm>
          <a:prstGeom prst="rect">
            <a:avLst/>
          </a:prstGeom>
          <a:solidFill>
            <a:srgbClr val="F0F3F7"/>
          </a:solidFill>
          <a:ln>
            <a:noFill/>
          </a:ln>
        </p:spPr>
        <p:txBody>
          <a:bodyPr wrap="square" lIns="2160000" tIns="0" anchor="ctr" anchorCtr="1">
            <a:noAutofit/>
          </a:bodyPr>
          <a:lstStyle>
            <a:lvl1pPr marL="0" indent="0" algn="r">
              <a:buNone/>
              <a:defRPr sz="2400"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B3B0A940-B71C-B6F2-2423-7F87B6743CD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73919" y="572140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27FB1A2-96B0-4D3F-A675-3E8F1334CB41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-Platzhalter">
            <a:extLst>
              <a:ext uri="{FF2B5EF4-FFF2-40B4-BE49-F238E27FC236}">
                <a16:creationId xmlns:a16="http://schemas.microsoft.com/office/drawing/2014/main" id="{A4D9E76D-B228-CF70-F19D-C51127285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184433"/>
            <a:ext cx="7560000" cy="4752975"/>
          </a:xfrm>
          <a:custGeom>
            <a:avLst/>
            <a:gdLst>
              <a:gd name="connsiteX0" fmla="*/ 0 w 7560000"/>
              <a:gd name="connsiteY0" fmla="*/ 0 h 4752975"/>
              <a:gd name="connsiteX1" fmla="*/ 7560000 w 7560000"/>
              <a:gd name="connsiteY1" fmla="*/ 0 h 4752975"/>
              <a:gd name="connsiteX2" fmla="*/ 7560000 w 7560000"/>
              <a:gd name="connsiteY2" fmla="*/ 3960887 h 4752975"/>
              <a:gd name="connsiteX3" fmla="*/ 6191848 w 7560000"/>
              <a:gd name="connsiteY3" fmla="*/ 4752975 h 4752975"/>
              <a:gd name="connsiteX4" fmla="*/ 0 w 756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0000" h="4752975">
                <a:moveTo>
                  <a:pt x="0" y="0"/>
                </a:moveTo>
                <a:lnTo>
                  <a:pt x="7560000" y="0"/>
                </a:lnTo>
                <a:lnTo>
                  <a:pt x="7560000" y="3960887"/>
                </a:lnTo>
                <a:lnTo>
                  <a:pt x="6191848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AD00"/>
          </a:solidFill>
        </p:spPr>
        <p:txBody>
          <a:bodyPr wrap="square" tIns="144000" bIns="144000">
            <a:noAutofit/>
          </a:bodyPr>
          <a:lstStyle>
            <a:lvl1pPr marL="542925" indent="-361950">
              <a:spcAft>
                <a:spcPts val="600"/>
              </a:spcAft>
              <a:buClr>
                <a:srgbClr val="8C3E9F"/>
              </a:buClr>
              <a:defRPr sz="2400" b="1">
                <a:solidFill>
                  <a:schemeClr val="bg1"/>
                </a:solidFill>
              </a:defRPr>
            </a:lvl1pPr>
            <a:lvl2pPr marL="539750" indent="536575">
              <a:buClr>
                <a:srgbClr val="FFFFFF"/>
              </a:buClr>
              <a:defRPr sz="2400" b="1">
                <a:solidFill>
                  <a:schemeClr val="bg1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Top 1</a:t>
            </a:r>
          </a:p>
          <a:p>
            <a:pPr lvl="1"/>
            <a:r>
              <a:rPr lang="de-DE" dirty="0"/>
              <a:t>ggf. Top 1- Unterpunkt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 sz="3200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Titel der AGENDA-Folie</a:t>
            </a:r>
          </a:p>
        </p:txBody>
      </p:sp>
    </p:spTree>
    <p:extLst>
      <p:ext uri="{BB962C8B-B14F-4D97-AF65-F5344CB8AC3E}">
        <p14:creationId xmlns:p14="http://schemas.microsoft.com/office/powerpoint/2010/main" val="856827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Türkis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10AD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70" y="2384884"/>
            <a:ext cx="2765856" cy="2107959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10ADAA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28768609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|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>
            <a:extLst>
              <a:ext uri="{FF2B5EF4-FFF2-40B4-BE49-F238E27FC236}">
                <a16:creationId xmlns:a16="http://schemas.microsoft.com/office/drawing/2014/main" id="{C63176DC-8F54-2F9C-A9C6-885103E5B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539"/>
            <a:ext cx="1367999" cy="1041937"/>
          </a:xfrm>
          <a:prstGeom prst="rect">
            <a:avLst/>
          </a:prstGeom>
        </p:spPr>
      </p:pic>
      <p:sp>
        <p:nvSpPr>
          <p:cNvPr id="7" name="Bild-Platzhalter">
            <a:extLst>
              <a:ext uri="{FF2B5EF4-FFF2-40B4-BE49-F238E27FC236}">
                <a16:creationId xmlns:a16="http://schemas.microsoft.com/office/drawing/2014/main" id="{90D14F3C-82DE-D918-A601-F652A4F77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44072" y="1196752"/>
            <a:ext cx="4955928" cy="4751999"/>
          </a:xfrm>
          <a:prstGeom prst="rect">
            <a:avLst/>
          </a:prstGeom>
          <a:solidFill>
            <a:srgbClr val="F0F3F7"/>
          </a:solidFill>
          <a:ln>
            <a:noFill/>
          </a:ln>
        </p:spPr>
        <p:txBody>
          <a:bodyPr wrap="square" lIns="2160000" tIns="0" anchor="ctr" anchorCtr="1">
            <a:noAutofit/>
          </a:bodyPr>
          <a:lstStyle>
            <a:lvl1pPr marL="0" indent="0" algn="r">
              <a:buNone/>
              <a:defRPr sz="2400"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3" name="Bild-Nachweis">
            <a:extLst>
              <a:ext uri="{FF2B5EF4-FFF2-40B4-BE49-F238E27FC236}">
                <a16:creationId xmlns:a16="http://schemas.microsoft.com/office/drawing/2014/main" id="{B3B0A940-B71C-B6F2-2423-7F87B6743CD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73919" y="572140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5D5D04A-5B68-4B6C-8A46-8578EEFBF5D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-Platzhalter">
            <a:extLst>
              <a:ext uri="{FF2B5EF4-FFF2-40B4-BE49-F238E27FC236}">
                <a16:creationId xmlns:a16="http://schemas.microsoft.com/office/drawing/2014/main" id="{A4D9E76D-B228-CF70-F19D-C51127285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184433"/>
            <a:ext cx="7560000" cy="4752975"/>
          </a:xfrm>
          <a:custGeom>
            <a:avLst/>
            <a:gdLst>
              <a:gd name="connsiteX0" fmla="*/ 0 w 7560000"/>
              <a:gd name="connsiteY0" fmla="*/ 0 h 4752975"/>
              <a:gd name="connsiteX1" fmla="*/ 7560000 w 7560000"/>
              <a:gd name="connsiteY1" fmla="*/ 0 h 4752975"/>
              <a:gd name="connsiteX2" fmla="*/ 7560000 w 7560000"/>
              <a:gd name="connsiteY2" fmla="*/ 3960887 h 4752975"/>
              <a:gd name="connsiteX3" fmla="*/ 6191848 w 7560000"/>
              <a:gd name="connsiteY3" fmla="*/ 4752975 h 4752975"/>
              <a:gd name="connsiteX4" fmla="*/ 0 w 756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0000" h="4752975">
                <a:moveTo>
                  <a:pt x="0" y="0"/>
                </a:moveTo>
                <a:lnTo>
                  <a:pt x="7560000" y="0"/>
                </a:lnTo>
                <a:lnTo>
                  <a:pt x="7560000" y="3960887"/>
                </a:lnTo>
                <a:lnTo>
                  <a:pt x="6191848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AD00"/>
          </a:solidFill>
        </p:spPr>
        <p:txBody>
          <a:bodyPr wrap="square" tIns="144000" bIns="144000">
            <a:noAutofit/>
          </a:bodyPr>
          <a:lstStyle>
            <a:lvl1pPr marL="542925" indent="-361950">
              <a:spcAft>
                <a:spcPts val="600"/>
              </a:spcAft>
              <a:buClr>
                <a:srgbClr val="10065A"/>
              </a:buClr>
              <a:defRPr sz="2400" b="1">
                <a:solidFill>
                  <a:srgbClr val="FFFFFF"/>
                </a:solidFill>
              </a:defRPr>
            </a:lvl1pPr>
            <a:lvl2pPr marL="539750" indent="536575">
              <a:buClr>
                <a:srgbClr val="FFFFFF"/>
              </a:buClr>
              <a:defRPr sz="2400" b="1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Top 1</a:t>
            </a:r>
          </a:p>
          <a:p>
            <a:pPr lvl="1"/>
            <a:r>
              <a:rPr lang="de-DE" dirty="0"/>
              <a:t>ggf. Top 1- Unterpunkt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 der AGENDA-Folie</a:t>
            </a:r>
          </a:p>
        </p:txBody>
      </p:sp>
    </p:spTree>
    <p:extLst>
      <p:ext uri="{BB962C8B-B14F-4D97-AF65-F5344CB8AC3E}">
        <p14:creationId xmlns:p14="http://schemas.microsoft.com/office/powerpoint/2010/main" val="2448926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">
            <a:extLst>
              <a:ext uri="{FF2B5EF4-FFF2-40B4-BE49-F238E27FC236}">
                <a16:creationId xmlns:a16="http://schemas.microsoft.com/office/drawing/2014/main" id="{3486F674-77C6-A4E9-51BC-5B1B1B266511}"/>
              </a:ext>
            </a:extLst>
          </p:cNvPr>
          <p:cNvSpPr txBox="1"/>
          <p:nvPr userDrawn="1"/>
        </p:nvSpPr>
        <p:spPr>
          <a:xfrm>
            <a:off x="0" y="1927858"/>
            <a:ext cx="12192000" cy="3002285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600" cap="all" baseline="0" dirty="0">
                <a:solidFill>
                  <a:srgbClr val="FF3EB5"/>
                </a:solidFill>
                <a:latin typeface="Montserrat Black" pitchFamily="2" charset="0"/>
              </a:rPr>
              <a:t>Redner</a:t>
            </a:r>
          </a:p>
        </p:txBody>
      </p:sp>
    </p:spTree>
    <p:extLst>
      <p:ext uri="{BB962C8B-B14F-4D97-AF65-F5344CB8AC3E}">
        <p14:creationId xmlns:p14="http://schemas.microsoft.com/office/powerpoint/2010/main" val="1740320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4er | 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980729"/>
            <a:ext cx="9793088" cy="4351780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ADAA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B8A72F99-FB83-E5C9-F189-F7EC889854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324514 w 12192000"/>
              <a:gd name="connsiteY0" fmla="*/ 5630180 h 6858003"/>
              <a:gd name="connsiteX1" fmla="*/ 12192000 w 12192000"/>
              <a:gd name="connsiteY1" fmla="*/ 5630180 h 6858003"/>
              <a:gd name="connsiteX2" fmla="*/ 12192000 w 12192000"/>
              <a:gd name="connsiteY2" fmla="*/ 6858003 h 6858003"/>
              <a:gd name="connsiteX3" fmla="*/ 0 w 12192000"/>
              <a:gd name="connsiteY3" fmla="*/ 6858003 h 6858003"/>
              <a:gd name="connsiteX4" fmla="*/ 0 w 12192000"/>
              <a:gd name="connsiteY4" fmla="*/ 6493062 h 6858003"/>
              <a:gd name="connsiteX5" fmla="*/ 0 w 12192000"/>
              <a:gd name="connsiteY5" fmla="*/ 0 h 6858003"/>
              <a:gd name="connsiteX6" fmla="*/ 12192000 w 12192000"/>
              <a:gd name="connsiteY6" fmla="*/ 0 h 6858003"/>
              <a:gd name="connsiteX7" fmla="*/ 12192000 w 12192000"/>
              <a:gd name="connsiteY7" fmla="*/ 800708 h 6858003"/>
              <a:gd name="connsiteX8" fmla="*/ 1285875 w 12192000"/>
              <a:gd name="connsiteY8" fmla="*/ 800708 h 6858003"/>
              <a:gd name="connsiteX9" fmla="*/ 0 w 12192000"/>
              <a:gd name="connsiteY9" fmla="*/ 1651655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3">
                <a:moveTo>
                  <a:pt x="1324514" y="5630180"/>
                </a:moveTo>
                <a:lnTo>
                  <a:pt x="12192000" y="563018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49306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800708"/>
                </a:lnTo>
                <a:lnTo>
                  <a:pt x="1285875" y="800708"/>
                </a:lnTo>
                <a:lnTo>
                  <a:pt x="0" y="1651655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622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00A4CA06-D39A-3067-D0C4-13152A84DA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32431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4er | 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980729"/>
            <a:ext cx="9793088" cy="4351780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FF3EB5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B8A72F99-FB83-E5C9-F189-F7EC889854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324514 w 12192000"/>
              <a:gd name="connsiteY0" fmla="*/ 5630180 h 6858003"/>
              <a:gd name="connsiteX1" fmla="*/ 12192000 w 12192000"/>
              <a:gd name="connsiteY1" fmla="*/ 5630180 h 6858003"/>
              <a:gd name="connsiteX2" fmla="*/ 12192000 w 12192000"/>
              <a:gd name="connsiteY2" fmla="*/ 6858003 h 6858003"/>
              <a:gd name="connsiteX3" fmla="*/ 0 w 12192000"/>
              <a:gd name="connsiteY3" fmla="*/ 6858003 h 6858003"/>
              <a:gd name="connsiteX4" fmla="*/ 0 w 12192000"/>
              <a:gd name="connsiteY4" fmla="*/ 6493062 h 6858003"/>
              <a:gd name="connsiteX5" fmla="*/ 0 w 12192000"/>
              <a:gd name="connsiteY5" fmla="*/ 0 h 6858003"/>
              <a:gd name="connsiteX6" fmla="*/ 12192000 w 12192000"/>
              <a:gd name="connsiteY6" fmla="*/ 0 h 6858003"/>
              <a:gd name="connsiteX7" fmla="*/ 12192000 w 12192000"/>
              <a:gd name="connsiteY7" fmla="*/ 800708 h 6858003"/>
              <a:gd name="connsiteX8" fmla="*/ 1285875 w 12192000"/>
              <a:gd name="connsiteY8" fmla="*/ 800708 h 6858003"/>
              <a:gd name="connsiteX9" fmla="*/ 0 w 12192000"/>
              <a:gd name="connsiteY9" fmla="*/ 1651655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3">
                <a:moveTo>
                  <a:pt x="1324514" y="5630180"/>
                </a:moveTo>
                <a:lnTo>
                  <a:pt x="12192000" y="563018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49306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800708"/>
                </a:lnTo>
                <a:lnTo>
                  <a:pt x="1285875" y="800708"/>
                </a:lnTo>
                <a:lnTo>
                  <a:pt x="0" y="1651655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622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00A4CA06-D39A-3067-D0C4-13152A84DA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4021760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4er |  Pink">
    <p:bg>
      <p:bgPr>
        <a:solidFill>
          <a:srgbClr val="FF3E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980729"/>
            <a:ext cx="9793088" cy="4351780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5A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B8A72F99-FB83-E5C9-F189-F7EC889854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324514 w 12192000"/>
              <a:gd name="connsiteY0" fmla="*/ 5630180 h 6858003"/>
              <a:gd name="connsiteX1" fmla="*/ 12192000 w 12192000"/>
              <a:gd name="connsiteY1" fmla="*/ 5630180 h 6858003"/>
              <a:gd name="connsiteX2" fmla="*/ 12192000 w 12192000"/>
              <a:gd name="connsiteY2" fmla="*/ 6858003 h 6858003"/>
              <a:gd name="connsiteX3" fmla="*/ 0 w 12192000"/>
              <a:gd name="connsiteY3" fmla="*/ 6858003 h 6858003"/>
              <a:gd name="connsiteX4" fmla="*/ 0 w 12192000"/>
              <a:gd name="connsiteY4" fmla="*/ 6493062 h 6858003"/>
              <a:gd name="connsiteX5" fmla="*/ 0 w 12192000"/>
              <a:gd name="connsiteY5" fmla="*/ 0 h 6858003"/>
              <a:gd name="connsiteX6" fmla="*/ 12192000 w 12192000"/>
              <a:gd name="connsiteY6" fmla="*/ 0 h 6858003"/>
              <a:gd name="connsiteX7" fmla="*/ 12192000 w 12192000"/>
              <a:gd name="connsiteY7" fmla="*/ 800708 h 6858003"/>
              <a:gd name="connsiteX8" fmla="*/ 1285875 w 12192000"/>
              <a:gd name="connsiteY8" fmla="*/ 800708 h 6858003"/>
              <a:gd name="connsiteX9" fmla="*/ 0 w 12192000"/>
              <a:gd name="connsiteY9" fmla="*/ 1651655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3">
                <a:moveTo>
                  <a:pt x="1324514" y="5630180"/>
                </a:moveTo>
                <a:lnTo>
                  <a:pt x="12192000" y="563018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49306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800708"/>
                </a:lnTo>
                <a:lnTo>
                  <a:pt x="1285875" y="800708"/>
                </a:lnTo>
                <a:lnTo>
                  <a:pt x="0" y="1651655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622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00A4CA06-D39A-3067-D0C4-13152A84DA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4261223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4er |  Türkis">
    <p:bg>
      <p:bgPr>
        <a:solidFill>
          <a:srgbClr val="10AD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980729"/>
            <a:ext cx="9793088" cy="4351780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5A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B8A72F99-FB83-E5C9-F189-F7EC889854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324514 w 12192000"/>
              <a:gd name="connsiteY0" fmla="*/ 5630180 h 6858003"/>
              <a:gd name="connsiteX1" fmla="*/ 12192000 w 12192000"/>
              <a:gd name="connsiteY1" fmla="*/ 5630180 h 6858003"/>
              <a:gd name="connsiteX2" fmla="*/ 12192000 w 12192000"/>
              <a:gd name="connsiteY2" fmla="*/ 6858003 h 6858003"/>
              <a:gd name="connsiteX3" fmla="*/ 0 w 12192000"/>
              <a:gd name="connsiteY3" fmla="*/ 6858003 h 6858003"/>
              <a:gd name="connsiteX4" fmla="*/ 0 w 12192000"/>
              <a:gd name="connsiteY4" fmla="*/ 6493062 h 6858003"/>
              <a:gd name="connsiteX5" fmla="*/ 0 w 12192000"/>
              <a:gd name="connsiteY5" fmla="*/ 0 h 6858003"/>
              <a:gd name="connsiteX6" fmla="*/ 12192000 w 12192000"/>
              <a:gd name="connsiteY6" fmla="*/ 0 h 6858003"/>
              <a:gd name="connsiteX7" fmla="*/ 12192000 w 12192000"/>
              <a:gd name="connsiteY7" fmla="*/ 800708 h 6858003"/>
              <a:gd name="connsiteX8" fmla="*/ 1285875 w 12192000"/>
              <a:gd name="connsiteY8" fmla="*/ 800708 h 6858003"/>
              <a:gd name="connsiteX9" fmla="*/ 0 w 12192000"/>
              <a:gd name="connsiteY9" fmla="*/ 1651655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3">
                <a:moveTo>
                  <a:pt x="1324514" y="5630180"/>
                </a:moveTo>
                <a:lnTo>
                  <a:pt x="12192000" y="563018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49306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800708"/>
                </a:lnTo>
                <a:lnTo>
                  <a:pt x="1285875" y="800708"/>
                </a:lnTo>
                <a:lnTo>
                  <a:pt x="0" y="1651655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622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00A4CA06-D39A-3067-D0C4-13152A84DA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270608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4er |  Violett">
    <p:bg>
      <p:bgPr>
        <a:solidFill>
          <a:srgbClr val="8C3E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980729"/>
            <a:ext cx="9793088" cy="4351780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AD00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B8A72F99-FB83-E5C9-F189-F7EC889854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324514 w 12192000"/>
              <a:gd name="connsiteY0" fmla="*/ 5630180 h 6858003"/>
              <a:gd name="connsiteX1" fmla="*/ 12192000 w 12192000"/>
              <a:gd name="connsiteY1" fmla="*/ 5630180 h 6858003"/>
              <a:gd name="connsiteX2" fmla="*/ 12192000 w 12192000"/>
              <a:gd name="connsiteY2" fmla="*/ 6858003 h 6858003"/>
              <a:gd name="connsiteX3" fmla="*/ 0 w 12192000"/>
              <a:gd name="connsiteY3" fmla="*/ 6858003 h 6858003"/>
              <a:gd name="connsiteX4" fmla="*/ 0 w 12192000"/>
              <a:gd name="connsiteY4" fmla="*/ 6493062 h 6858003"/>
              <a:gd name="connsiteX5" fmla="*/ 0 w 12192000"/>
              <a:gd name="connsiteY5" fmla="*/ 0 h 6858003"/>
              <a:gd name="connsiteX6" fmla="*/ 12192000 w 12192000"/>
              <a:gd name="connsiteY6" fmla="*/ 0 h 6858003"/>
              <a:gd name="connsiteX7" fmla="*/ 12192000 w 12192000"/>
              <a:gd name="connsiteY7" fmla="*/ 800708 h 6858003"/>
              <a:gd name="connsiteX8" fmla="*/ 1285875 w 12192000"/>
              <a:gd name="connsiteY8" fmla="*/ 800708 h 6858003"/>
              <a:gd name="connsiteX9" fmla="*/ 0 w 12192000"/>
              <a:gd name="connsiteY9" fmla="*/ 1651655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3">
                <a:moveTo>
                  <a:pt x="1324514" y="5630180"/>
                </a:moveTo>
                <a:lnTo>
                  <a:pt x="12192000" y="563018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49306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800708"/>
                </a:lnTo>
                <a:lnTo>
                  <a:pt x="1285875" y="800708"/>
                </a:lnTo>
                <a:lnTo>
                  <a:pt x="0" y="1651655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622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00A4CA06-D39A-3067-D0C4-13152A84DA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912260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4er |  Orange">
    <p:bg>
      <p:bgPr>
        <a:solidFill>
          <a:srgbClr val="FF4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980729"/>
            <a:ext cx="9793088" cy="4351780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5A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B8A72F99-FB83-E5C9-F189-F7EC889854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324514 w 12192000"/>
              <a:gd name="connsiteY0" fmla="*/ 5630180 h 6858003"/>
              <a:gd name="connsiteX1" fmla="*/ 12192000 w 12192000"/>
              <a:gd name="connsiteY1" fmla="*/ 5630180 h 6858003"/>
              <a:gd name="connsiteX2" fmla="*/ 12192000 w 12192000"/>
              <a:gd name="connsiteY2" fmla="*/ 6858003 h 6858003"/>
              <a:gd name="connsiteX3" fmla="*/ 0 w 12192000"/>
              <a:gd name="connsiteY3" fmla="*/ 6858003 h 6858003"/>
              <a:gd name="connsiteX4" fmla="*/ 0 w 12192000"/>
              <a:gd name="connsiteY4" fmla="*/ 6493062 h 6858003"/>
              <a:gd name="connsiteX5" fmla="*/ 0 w 12192000"/>
              <a:gd name="connsiteY5" fmla="*/ 0 h 6858003"/>
              <a:gd name="connsiteX6" fmla="*/ 12192000 w 12192000"/>
              <a:gd name="connsiteY6" fmla="*/ 0 h 6858003"/>
              <a:gd name="connsiteX7" fmla="*/ 12192000 w 12192000"/>
              <a:gd name="connsiteY7" fmla="*/ 800708 h 6858003"/>
              <a:gd name="connsiteX8" fmla="*/ 1285875 w 12192000"/>
              <a:gd name="connsiteY8" fmla="*/ 800708 h 6858003"/>
              <a:gd name="connsiteX9" fmla="*/ 0 w 12192000"/>
              <a:gd name="connsiteY9" fmla="*/ 1651655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3">
                <a:moveTo>
                  <a:pt x="1324514" y="5630180"/>
                </a:moveTo>
                <a:lnTo>
                  <a:pt x="12192000" y="563018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49306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800708"/>
                </a:lnTo>
                <a:lnTo>
                  <a:pt x="1285875" y="800708"/>
                </a:lnTo>
                <a:lnTo>
                  <a:pt x="0" y="1651655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622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00A4CA06-D39A-3067-D0C4-13152A84DA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622518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4er |  Gold">
    <p:bg>
      <p:bgPr>
        <a:solidFill>
          <a:srgbClr val="FF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980729"/>
            <a:ext cx="9793088" cy="4351780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8C3E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B8A72F99-FB83-E5C9-F189-F7EC889854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324514 w 12192000"/>
              <a:gd name="connsiteY0" fmla="*/ 5630180 h 6858003"/>
              <a:gd name="connsiteX1" fmla="*/ 12192000 w 12192000"/>
              <a:gd name="connsiteY1" fmla="*/ 5630180 h 6858003"/>
              <a:gd name="connsiteX2" fmla="*/ 12192000 w 12192000"/>
              <a:gd name="connsiteY2" fmla="*/ 6858003 h 6858003"/>
              <a:gd name="connsiteX3" fmla="*/ 0 w 12192000"/>
              <a:gd name="connsiteY3" fmla="*/ 6858003 h 6858003"/>
              <a:gd name="connsiteX4" fmla="*/ 0 w 12192000"/>
              <a:gd name="connsiteY4" fmla="*/ 6493062 h 6858003"/>
              <a:gd name="connsiteX5" fmla="*/ 0 w 12192000"/>
              <a:gd name="connsiteY5" fmla="*/ 0 h 6858003"/>
              <a:gd name="connsiteX6" fmla="*/ 12192000 w 12192000"/>
              <a:gd name="connsiteY6" fmla="*/ 0 h 6858003"/>
              <a:gd name="connsiteX7" fmla="*/ 12192000 w 12192000"/>
              <a:gd name="connsiteY7" fmla="*/ 800708 h 6858003"/>
              <a:gd name="connsiteX8" fmla="*/ 1285875 w 12192000"/>
              <a:gd name="connsiteY8" fmla="*/ 800708 h 6858003"/>
              <a:gd name="connsiteX9" fmla="*/ 0 w 12192000"/>
              <a:gd name="connsiteY9" fmla="*/ 1651655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3">
                <a:moveTo>
                  <a:pt x="1324514" y="5630180"/>
                </a:moveTo>
                <a:lnTo>
                  <a:pt x="12192000" y="563018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49306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800708"/>
                </a:lnTo>
                <a:lnTo>
                  <a:pt x="1285875" y="800708"/>
                </a:lnTo>
                <a:lnTo>
                  <a:pt x="0" y="1651655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622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00A4CA06-D39A-3067-D0C4-13152A84DA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945383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4er |  Grün">
    <p:bg>
      <p:bgPr>
        <a:solidFill>
          <a:srgbClr val="10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980729"/>
            <a:ext cx="9793088" cy="4351780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5A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B8A72F99-FB83-E5C9-F189-F7EC889854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324514 w 12192000"/>
              <a:gd name="connsiteY0" fmla="*/ 5630180 h 6858003"/>
              <a:gd name="connsiteX1" fmla="*/ 12192000 w 12192000"/>
              <a:gd name="connsiteY1" fmla="*/ 5630180 h 6858003"/>
              <a:gd name="connsiteX2" fmla="*/ 12192000 w 12192000"/>
              <a:gd name="connsiteY2" fmla="*/ 6858003 h 6858003"/>
              <a:gd name="connsiteX3" fmla="*/ 0 w 12192000"/>
              <a:gd name="connsiteY3" fmla="*/ 6858003 h 6858003"/>
              <a:gd name="connsiteX4" fmla="*/ 0 w 12192000"/>
              <a:gd name="connsiteY4" fmla="*/ 6493062 h 6858003"/>
              <a:gd name="connsiteX5" fmla="*/ 0 w 12192000"/>
              <a:gd name="connsiteY5" fmla="*/ 0 h 6858003"/>
              <a:gd name="connsiteX6" fmla="*/ 12192000 w 12192000"/>
              <a:gd name="connsiteY6" fmla="*/ 0 h 6858003"/>
              <a:gd name="connsiteX7" fmla="*/ 12192000 w 12192000"/>
              <a:gd name="connsiteY7" fmla="*/ 800708 h 6858003"/>
              <a:gd name="connsiteX8" fmla="*/ 1285875 w 12192000"/>
              <a:gd name="connsiteY8" fmla="*/ 800708 h 6858003"/>
              <a:gd name="connsiteX9" fmla="*/ 0 w 12192000"/>
              <a:gd name="connsiteY9" fmla="*/ 1651655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3">
                <a:moveTo>
                  <a:pt x="1324514" y="5630180"/>
                </a:moveTo>
                <a:lnTo>
                  <a:pt x="12192000" y="563018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49306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800708"/>
                </a:lnTo>
                <a:lnTo>
                  <a:pt x="1285875" y="800708"/>
                </a:lnTo>
                <a:lnTo>
                  <a:pt x="0" y="1651655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622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00A4CA06-D39A-3067-D0C4-13152A84DA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1646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Blau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70" y="2384884"/>
            <a:ext cx="2765856" cy="2107958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chemeClr val="bg1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2393195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3er | 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2363862"/>
            <a:ext cx="9793088" cy="3079266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ADAA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9" name="Bild-Platzhalter">
            <a:extLst>
              <a:ext uri="{FF2B5EF4-FFF2-40B4-BE49-F238E27FC236}">
                <a16:creationId xmlns:a16="http://schemas.microsoft.com/office/drawing/2014/main" id="{E5423A27-3AF7-1F9C-07A8-7C69EA9B749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295400 w 12192000"/>
              <a:gd name="connsiteY0" fmla="*/ 5615711 h 6858003"/>
              <a:gd name="connsiteX1" fmla="*/ 12192000 w 12192000"/>
              <a:gd name="connsiteY1" fmla="*/ 5615711 h 6858003"/>
              <a:gd name="connsiteX2" fmla="*/ 12192000 w 12192000"/>
              <a:gd name="connsiteY2" fmla="*/ 6858000 h 6858003"/>
              <a:gd name="connsiteX3" fmla="*/ 12192000 w 12192000"/>
              <a:gd name="connsiteY3" fmla="*/ 6858003 h 6858003"/>
              <a:gd name="connsiteX4" fmla="*/ 0 w 12192000"/>
              <a:gd name="connsiteY4" fmla="*/ 6858003 h 6858003"/>
              <a:gd name="connsiteX5" fmla="*/ 0 w 12192000"/>
              <a:gd name="connsiteY5" fmla="*/ 6858000 h 6858003"/>
              <a:gd name="connsiteX6" fmla="*/ 769 w 12192000"/>
              <a:gd name="connsiteY6" fmla="*/ 6858000 h 6858003"/>
              <a:gd name="connsiteX7" fmla="*/ 0 w 12192000"/>
              <a:gd name="connsiteY7" fmla="*/ 6472961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1946336 h 6858003"/>
              <a:gd name="connsiteX11" fmla="*/ 12192000 w 12192000"/>
              <a:gd name="connsiteY11" fmla="*/ 2189257 h 6858003"/>
              <a:gd name="connsiteX12" fmla="*/ 1285875 w 12192000"/>
              <a:gd name="connsiteY12" fmla="*/ 2189257 h 6858003"/>
              <a:gd name="connsiteX13" fmla="*/ 0 w 12192000"/>
              <a:gd name="connsiteY13" fmla="*/ 304020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3">
                <a:moveTo>
                  <a:pt x="1295400" y="5615711"/>
                </a:moveTo>
                <a:lnTo>
                  <a:pt x="12192000" y="5615711"/>
                </a:lnTo>
                <a:lnTo>
                  <a:pt x="12192000" y="685800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858000"/>
                </a:lnTo>
                <a:lnTo>
                  <a:pt x="769" y="6858000"/>
                </a:lnTo>
                <a:lnTo>
                  <a:pt x="0" y="647296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946336"/>
                </a:lnTo>
                <a:lnTo>
                  <a:pt x="12192000" y="2189257"/>
                </a:lnTo>
                <a:lnTo>
                  <a:pt x="1285875" y="2189257"/>
                </a:lnTo>
                <a:lnTo>
                  <a:pt x="0" y="304020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A6469613-DFEF-FAE0-957B-F88C14ACAA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757220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3er | 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2363862"/>
            <a:ext cx="9793088" cy="3079266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FF3EB5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9" name="Bild-Platzhalter">
            <a:extLst>
              <a:ext uri="{FF2B5EF4-FFF2-40B4-BE49-F238E27FC236}">
                <a16:creationId xmlns:a16="http://schemas.microsoft.com/office/drawing/2014/main" id="{E5423A27-3AF7-1F9C-07A8-7C69EA9B749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295400 w 12192000"/>
              <a:gd name="connsiteY0" fmla="*/ 5615711 h 6858003"/>
              <a:gd name="connsiteX1" fmla="*/ 12192000 w 12192000"/>
              <a:gd name="connsiteY1" fmla="*/ 5615711 h 6858003"/>
              <a:gd name="connsiteX2" fmla="*/ 12192000 w 12192000"/>
              <a:gd name="connsiteY2" fmla="*/ 6858000 h 6858003"/>
              <a:gd name="connsiteX3" fmla="*/ 12192000 w 12192000"/>
              <a:gd name="connsiteY3" fmla="*/ 6858003 h 6858003"/>
              <a:gd name="connsiteX4" fmla="*/ 0 w 12192000"/>
              <a:gd name="connsiteY4" fmla="*/ 6858003 h 6858003"/>
              <a:gd name="connsiteX5" fmla="*/ 0 w 12192000"/>
              <a:gd name="connsiteY5" fmla="*/ 6858000 h 6858003"/>
              <a:gd name="connsiteX6" fmla="*/ 769 w 12192000"/>
              <a:gd name="connsiteY6" fmla="*/ 6858000 h 6858003"/>
              <a:gd name="connsiteX7" fmla="*/ 0 w 12192000"/>
              <a:gd name="connsiteY7" fmla="*/ 6472961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1946336 h 6858003"/>
              <a:gd name="connsiteX11" fmla="*/ 12192000 w 12192000"/>
              <a:gd name="connsiteY11" fmla="*/ 2189257 h 6858003"/>
              <a:gd name="connsiteX12" fmla="*/ 1285875 w 12192000"/>
              <a:gd name="connsiteY12" fmla="*/ 2189257 h 6858003"/>
              <a:gd name="connsiteX13" fmla="*/ 0 w 12192000"/>
              <a:gd name="connsiteY13" fmla="*/ 304020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3">
                <a:moveTo>
                  <a:pt x="1295400" y="5615711"/>
                </a:moveTo>
                <a:lnTo>
                  <a:pt x="12192000" y="5615711"/>
                </a:lnTo>
                <a:lnTo>
                  <a:pt x="12192000" y="685800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858000"/>
                </a:lnTo>
                <a:lnTo>
                  <a:pt x="769" y="6858000"/>
                </a:lnTo>
                <a:lnTo>
                  <a:pt x="0" y="647296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946336"/>
                </a:lnTo>
                <a:lnTo>
                  <a:pt x="12192000" y="2189257"/>
                </a:lnTo>
                <a:lnTo>
                  <a:pt x="1285875" y="2189257"/>
                </a:lnTo>
                <a:lnTo>
                  <a:pt x="0" y="304020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A6469613-DFEF-FAE0-957B-F88C14ACAA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746379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3er |  Pink">
    <p:bg>
      <p:bgPr>
        <a:solidFill>
          <a:srgbClr val="FF3E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2363862"/>
            <a:ext cx="9793088" cy="3079266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9" name="Bild-Platzhalter">
            <a:extLst>
              <a:ext uri="{FF2B5EF4-FFF2-40B4-BE49-F238E27FC236}">
                <a16:creationId xmlns:a16="http://schemas.microsoft.com/office/drawing/2014/main" id="{E5423A27-3AF7-1F9C-07A8-7C69EA9B749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295400 w 12192000"/>
              <a:gd name="connsiteY0" fmla="*/ 5615711 h 6858003"/>
              <a:gd name="connsiteX1" fmla="*/ 12192000 w 12192000"/>
              <a:gd name="connsiteY1" fmla="*/ 5615711 h 6858003"/>
              <a:gd name="connsiteX2" fmla="*/ 12192000 w 12192000"/>
              <a:gd name="connsiteY2" fmla="*/ 6858000 h 6858003"/>
              <a:gd name="connsiteX3" fmla="*/ 12192000 w 12192000"/>
              <a:gd name="connsiteY3" fmla="*/ 6858003 h 6858003"/>
              <a:gd name="connsiteX4" fmla="*/ 0 w 12192000"/>
              <a:gd name="connsiteY4" fmla="*/ 6858003 h 6858003"/>
              <a:gd name="connsiteX5" fmla="*/ 0 w 12192000"/>
              <a:gd name="connsiteY5" fmla="*/ 6858000 h 6858003"/>
              <a:gd name="connsiteX6" fmla="*/ 769 w 12192000"/>
              <a:gd name="connsiteY6" fmla="*/ 6858000 h 6858003"/>
              <a:gd name="connsiteX7" fmla="*/ 0 w 12192000"/>
              <a:gd name="connsiteY7" fmla="*/ 6472961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1946336 h 6858003"/>
              <a:gd name="connsiteX11" fmla="*/ 12192000 w 12192000"/>
              <a:gd name="connsiteY11" fmla="*/ 2189257 h 6858003"/>
              <a:gd name="connsiteX12" fmla="*/ 1285875 w 12192000"/>
              <a:gd name="connsiteY12" fmla="*/ 2189257 h 6858003"/>
              <a:gd name="connsiteX13" fmla="*/ 0 w 12192000"/>
              <a:gd name="connsiteY13" fmla="*/ 304020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3">
                <a:moveTo>
                  <a:pt x="1295400" y="5615711"/>
                </a:moveTo>
                <a:lnTo>
                  <a:pt x="12192000" y="5615711"/>
                </a:lnTo>
                <a:lnTo>
                  <a:pt x="12192000" y="685800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858000"/>
                </a:lnTo>
                <a:lnTo>
                  <a:pt x="769" y="6858000"/>
                </a:lnTo>
                <a:lnTo>
                  <a:pt x="0" y="647296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946336"/>
                </a:lnTo>
                <a:lnTo>
                  <a:pt x="12192000" y="2189257"/>
                </a:lnTo>
                <a:lnTo>
                  <a:pt x="1285875" y="2189257"/>
                </a:lnTo>
                <a:lnTo>
                  <a:pt x="0" y="304020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A6469613-DFEF-FAE0-957B-F88C14ACAA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722786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3er |  Türkis">
    <p:bg>
      <p:bgPr>
        <a:solidFill>
          <a:srgbClr val="10AD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2363862"/>
            <a:ext cx="9793088" cy="3079266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9" name="Bild-Platzhalter">
            <a:extLst>
              <a:ext uri="{FF2B5EF4-FFF2-40B4-BE49-F238E27FC236}">
                <a16:creationId xmlns:a16="http://schemas.microsoft.com/office/drawing/2014/main" id="{E5423A27-3AF7-1F9C-07A8-7C69EA9B749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295400 w 12192000"/>
              <a:gd name="connsiteY0" fmla="*/ 5615711 h 6858003"/>
              <a:gd name="connsiteX1" fmla="*/ 12192000 w 12192000"/>
              <a:gd name="connsiteY1" fmla="*/ 5615711 h 6858003"/>
              <a:gd name="connsiteX2" fmla="*/ 12192000 w 12192000"/>
              <a:gd name="connsiteY2" fmla="*/ 6858000 h 6858003"/>
              <a:gd name="connsiteX3" fmla="*/ 12192000 w 12192000"/>
              <a:gd name="connsiteY3" fmla="*/ 6858003 h 6858003"/>
              <a:gd name="connsiteX4" fmla="*/ 0 w 12192000"/>
              <a:gd name="connsiteY4" fmla="*/ 6858003 h 6858003"/>
              <a:gd name="connsiteX5" fmla="*/ 0 w 12192000"/>
              <a:gd name="connsiteY5" fmla="*/ 6858000 h 6858003"/>
              <a:gd name="connsiteX6" fmla="*/ 769 w 12192000"/>
              <a:gd name="connsiteY6" fmla="*/ 6858000 h 6858003"/>
              <a:gd name="connsiteX7" fmla="*/ 0 w 12192000"/>
              <a:gd name="connsiteY7" fmla="*/ 6472961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1946336 h 6858003"/>
              <a:gd name="connsiteX11" fmla="*/ 12192000 w 12192000"/>
              <a:gd name="connsiteY11" fmla="*/ 2189257 h 6858003"/>
              <a:gd name="connsiteX12" fmla="*/ 1285875 w 12192000"/>
              <a:gd name="connsiteY12" fmla="*/ 2189257 h 6858003"/>
              <a:gd name="connsiteX13" fmla="*/ 0 w 12192000"/>
              <a:gd name="connsiteY13" fmla="*/ 304020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3">
                <a:moveTo>
                  <a:pt x="1295400" y="5615711"/>
                </a:moveTo>
                <a:lnTo>
                  <a:pt x="12192000" y="5615711"/>
                </a:lnTo>
                <a:lnTo>
                  <a:pt x="12192000" y="685800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858000"/>
                </a:lnTo>
                <a:lnTo>
                  <a:pt x="769" y="6858000"/>
                </a:lnTo>
                <a:lnTo>
                  <a:pt x="0" y="647296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946336"/>
                </a:lnTo>
                <a:lnTo>
                  <a:pt x="12192000" y="2189257"/>
                </a:lnTo>
                <a:lnTo>
                  <a:pt x="1285875" y="2189257"/>
                </a:lnTo>
                <a:lnTo>
                  <a:pt x="0" y="304020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A6469613-DFEF-FAE0-957B-F88C14ACAA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902051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 userDrawn="1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3er |  Violett">
    <p:bg>
      <p:bgPr>
        <a:solidFill>
          <a:srgbClr val="8C3E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2363862"/>
            <a:ext cx="9793088" cy="3079266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AD00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9" name="Bild-Platzhalter">
            <a:extLst>
              <a:ext uri="{FF2B5EF4-FFF2-40B4-BE49-F238E27FC236}">
                <a16:creationId xmlns:a16="http://schemas.microsoft.com/office/drawing/2014/main" id="{E5423A27-3AF7-1F9C-07A8-7C69EA9B749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295400 w 12192000"/>
              <a:gd name="connsiteY0" fmla="*/ 5615711 h 6858003"/>
              <a:gd name="connsiteX1" fmla="*/ 12192000 w 12192000"/>
              <a:gd name="connsiteY1" fmla="*/ 5615711 h 6858003"/>
              <a:gd name="connsiteX2" fmla="*/ 12192000 w 12192000"/>
              <a:gd name="connsiteY2" fmla="*/ 6858000 h 6858003"/>
              <a:gd name="connsiteX3" fmla="*/ 12192000 w 12192000"/>
              <a:gd name="connsiteY3" fmla="*/ 6858003 h 6858003"/>
              <a:gd name="connsiteX4" fmla="*/ 0 w 12192000"/>
              <a:gd name="connsiteY4" fmla="*/ 6858003 h 6858003"/>
              <a:gd name="connsiteX5" fmla="*/ 0 w 12192000"/>
              <a:gd name="connsiteY5" fmla="*/ 6858000 h 6858003"/>
              <a:gd name="connsiteX6" fmla="*/ 769 w 12192000"/>
              <a:gd name="connsiteY6" fmla="*/ 6858000 h 6858003"/>
              <a:gd name="connsiteX7" fmla="*/ 0 w 12192000"/>
              <a:gd name="connsiteY7" fmla="*/ 6472961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1946336 h 6858003"/>
              <a:gd name="connsiteX11" fmla="*/ 12192000 w 12192000"/>
              <a:gd name="connsiteY11" fmla="*/ 2189257 h 6858003"/>
              <a:gd name="connsiteX12" fmla="*/ 1285875 w 12192000"/>
              <a:gd name="connsiteY12" fmla="*/ 2189257 h 6858003"/>
              <a:gd name="connsiteX13" fmla="*/ 0 w 12192000"/>
              <a:gd name="connsiteY13" fmla="*/ 304020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3">
                <a:moveTo>
                  <a:pt x="1295400" y="5615711"/>
                </a:moveTo>
                <a:lnTo>
                  <a:pt x="12192000" y="5615711"/>
                </a:lnTo>
                <a:lnTo>
                  <a:pt x="12192000" y="685800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858000"/>
                </a:lnTo>
                <a:lnTo>
                  <a:pt x="769" y="6858000"/>
                </a:lnTo>
                <a:lnTo>
                  <a:pt x="0" y="647296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946336"/>
                </a:lnTo>
                <a:lnTo>
                  <a:pt x="12192000" y="2189257"/>
                </a:lnTo>
                <a:lnTo>
                  <a:pt x="1285875" y="2189257"/>
                </a:lnTo>
                <a:lnTo>
                  <a:pt x="0" y="304020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A6469613-DFEF-FAE0-957B-F88C14ACAA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552105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3er |  Orange">
    <p:bg>
      <p:bgPr>
        <a:solidFill>
          <a:srgbClr val="FF4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2363862"/>
            <a:ext cx="9793088" cy="3079266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9" name="Bild-Platzhalter">
            <a:extLst>
              <a:ext uri="{FF2B5EF4-FFF2-40B4-BE49-F238E27FC236}">
                <a16:creationId xmlns:a16="http://schemas.microsoft.com/office/drawing/2014/main" id="{E5423A27-3AF7-1F9C-07A8-7C69EA9B749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295400 w 12192000"/>
              <a:gd name="connsiteY0" fmla="*/ 5615711 h 6858003"/>
              <a:gd name="connsiteX1" fmla="*/ 12192000 w 12192000"/>
              <a:gd name="connsiteY1" fmla="*/ 5615711 h 6858003"/>
              <a:gd name="connsiteX2" fmla="*/ 12192000 w 12192000"/>
              <a:gd name="connsiteY2" fmla="*/ 6858000 h 6858003"/>
              <a:gd name="connsiteX3" fmla="*/ 12192000 w 12192000"/>
              <a:gd name="connsiteY3" fmla="*/ 6858003 h 6858003"/>
              <a:gd name="connsiteX4" fmla="*/ 0 w 12192000"/>
              <a:gd name="connsiteY4" fmla="*/ 6858003 h 6858003"/>
              <a:gd name="connsiteX5" fmla="*/ 0 w 12192000"/>
              <a:gd name="connsiteY5" fmla="*/ 6858000 h 6858003"/>
              <a:gd name="connsiteX6" fmla="*/ 769 w 12192000"/>
              <a:gd name="connsiteY6" fmla="*/ 6858000 h 6858003"/>
              <a:gd name="connsiteX7" fmla="*/ 0 w 12192000"/>
              <a:gd name="connsiteY7" fmla="*/ 6472961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1946336 h 6858003"/>
              <a:gd name="connsiteX11" fmla="*/ 12192000 w 12192000"/>
              <a:gd name="connsiteY11" fmla="*/ 2189257 h 6858003"/>
              <a:gd name="connsiteX12" fmla="*/ 1285875 w 12192000"/>
              <a:gd name="connsiteY12" fmla="*/ 2189257 h 6858003"/>
              <a:gd name="connsiteX13" fmla="*/ 0 w 12192000"/>
              <a:gd name="connsiteY13" fmla="*/ 304020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3">
                <a:moveTo>
                  <a:pt x="1295400" y="5615711"/>
                </a:moveTo>
                <a:lnTo>
                  <a:pt x="12192000" y="5615711"/>
                </a:lnTo>
                <a:lnTo>
                  <a:pt x="12192000" y="685800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858000"/>
                </a:lnTo>
                <a:lnTo>
                  <a:pt x="769" y="6858000"/>
                </a:lnTo>
                <a:lnTo>
                  <a:pt x="0" y="647296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946336"/>
                </a:lnTo>
                <a:lnTo>
                  <a:pt x="12192000" y="2189257"/>
                </a:lnTo>
                <a:lnTo>
                  <a:pt x="1285875" y="2189257"/>
                </a:lnTo>
                <a:lnTo>
                  <a:pt x="0" y="304020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A6469613-DFEF-FAE0-957B-F88C14ACAA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617954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3er |  Gold">
    <p:bg>
      <p:bgPr>
        <a:solidFill>
          <a:srgbClr val="FF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2363862"/>
            <a:ext cx="9793088" cy="3079266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8C3E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9" name="Bild-Platzhalter">
            <a:extLst>
              <a:ext uri="{FF2B5EF4-FFF2-40B4-BE49-F238E27FC236}">
                <a16:creationId xmlns:a16="http://schemas.microsoft.com/office/drawing/2014/main" id="{E5423A27-3AF7-1F9C-07A8-7C69EA9B749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295400 w 12192000"/>
              <a:gd name="connsiteY0" fmla="*/ 5615711 h 6858003"/>
              <a:gd name="connsiteX1" fmla="*/ 12192000 w 12192000"/>
              <a:gd name="connsiteY1" fmla="*/ 5615711 h 6858003"/>
              <a:gd name="connsiteX2" fmla="*/ 12192000 w 12192000"/>
              <a:gd name="connsiteY2" fmla="*/ 6858000 h 6858003"/>
              <a:gd name="connsiteX3" fmla="*/ 12192000 w 12192000"/>
              <a:gd name="connsiteY3" fmla="*/ 6858003 h 6858003"/>
              <a:gd name="connsiteX4" fmla="*/ 0 w 12192000"/>
              <a:gd name="connsiteY4" fmla="*/ 6858003 h 6858003"/>
              <a:gd name="connsiteX5" fmla="*/ 0 w 12192000"/>
              <a:gd name="connsiteY5" fmla="*/ 6858000 h 6858003"/>
              <a:gd name="connsiteX6" fmla="*/ 769 w 12192000"/>
              <a:gd name="connsiteY6" fmla="*/ 6858000 h 6858003"/>
              <a:gd name="connsiteX7" fmla="*/ 0 w 12192000"/>
              <a:gd name="connsiteY7" fmla="*/ 6472961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1946336 h 6858003"/>
              <a:gd name="connsiteX11" fmla="*/ 12192000 w 12192000"/>
              <a:gd name="connsiteY11" fmla="*/ 2189257 h 6858003"/>
              <a:gd name="connsiteX12" fmla="*/ 1285875 w 12192000"/>
              <a:gd name="connsiteY12" fmla="*/ 2189257 h 6858003"/>
              <a:gd name="connsiteX13" fmla="*/ 0 w 12192000"/>
              <a:gd name="connsiteY13" fmla="*/ 304020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3">
                <a:moveTo>
                  <a:pt x="1295400" y="5615711"/>
                </a:moveTo>
                <a:lnTo>
                  <a:pt x="12192000" y="5615711"/>
                </a:lnTo>
                <a:lnTo>
                  <a:pt x="12192000" y="685800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858000"/>
                </a:lnTo>
                <a:lnTo>
                  <a:pt x="769" y="6858000"/>
                </a:lnTo>
                <a:lnTo>
                  <a:pt x="0" y="647296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946336"/>
                </a:lnTo>
                <a:lnTo>
                  <a:pt x="12192000" y="2189257"/>
                </a:lnTo>
                <a:lnTo>
                  <a:pt x="1285875" y="2189257"/>
                </a:lnTo>
                <a:lnTo>
                  <a:pt x="0" y="304020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A6469613-DFEF-FAE0-957B-F88C14ACAA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952963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3er |  Grün">
    <p:bg>
      <p:bgPr>
        <a:solidFill>
          <a:srgbClr val="10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5520" y="2363862"/>
            <a:ext cx="9793088" cy="3079266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9" name="Bild-Platzhalter">
            <a:extLst>
              <a:ext uri="{FF2B5EF4-FFF2-40B4-BE49-F238E27FC236}">
                <a16:creationId xmlns:a16="http://schemas.microsoft.com/office/drawing/2014/main" id="{E5423A27-3AF7-1F9C-07A8-7C69EA9B749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1295400 w 12192000"/>
              <a:gd name="connsiteY0" fmla="*/ 5615711 h 6858003"/>
              <a:gd name="connsiteX1" fmla="*/ 12192000 w 12192000"/>
              <a:gd name="connsiteY1" fmla="*/ 5615711 h 6858003"/>
              <a:gd name="connsiteX2" fmla="*/ 12192000 w 12192000"/>
              <a:gd name="connsiteY2" fmla="*/ 6858000 h 6858003"/>
              <a:gd name="connsiteX3" fmla="*/ 12192000 w 12192000"/>
              <a:gd name="connsiteY3" fmla="*/ 6858003 h 6858003"/>
              <a:gd name="connsiteX4" fmla="*/ 0 w 12192000"/>
              <a:gd name="connsiteY4" fmla="*/ 6858003 h 6858003"/>
              <a:gd name="connsiteX5" fmla="*/ 0 w 12192000"/>
              <a:gd name="connsiteY5" fmla="*/ 6858000 h 6858003"/>
              <a:gd name="connsiteX6" fmla="*/ 769 w 12192000"/>
              <a:gd name="connsiteY6" fmla="*/ 6858000 h 6858003"/>
              <a:gd name="connsiteX7" fmla="*/ 0 w 12192000"/>
              <a:gd name="connsiteY7" fmla="*/ 6472961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1946336 h 6858003"/>
              <a:gd name="connsiteX11" fmla="*/ 12192000 w 12192000"/>
              <a:gd name="connsiteY11" fmla="*/ 2189257 h 6858003"/>
              <a:gd name="connsiteX12" fmla="*/ 1285875 w 12192000"/>
              <a:gd name="connsiteY12" fmla="*/ 2189257 h 6858003"/>
              <a:gd name="connsiteX13" fmla="*/ 0 w 12192000"/>
              <a:gd name="connsiteY13" fmla="*/ 3040204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3">
                <a:moveTo>
                  <a:pt x="1295400" y="5615711"/>
                </a:moveTo>
                <a:lnTo>
                  <a:pt x="12192000" y="5615711"/>
                </a:lnTo>
                <a:lnTo>
                  <a:pt x="12192000" y="6858000"/>
                </a:lnTo>
                <a:lnTo>
                  <a:pt x="12192000" y="6858003"/>
                </a:lnTo>
                <a:lnTo>
                  <a:pt x="0" y="6858003"/>
                </a:lnTo>
                <a:lnTo>
                  <a:pt x="0" y="6858000"/>
                </a:lnTo>
                <a:lnTo>
                  <a:pt x="769" y="6858000"/>
                </a:lnTo>
                <a:lnTo>
                  <a:pt x="0" y="647296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946336"/>
                </a:lnTo>
                <a:lnTo>
                  <a:pt x="12192000" y="2189257"/>
                </a:lnTo>
                <a:lnTo>
                  <a:pt x="1285875" y="2189257"/>
                </a:lnTo>
                <a:lnTo>
                  <a:pt x="0" y="304020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6" name="Bild-Nachweis">
            <a:extLst>
              <a:ext uri="{FF2B5EF4-FFF2-40B4-BE49-F238E27FC236}">
                <a16:creationId xmlns:a16="http://schemas.microsoft.com/office/drawing/2014/main" id="{A6469613-DFEF-FAE0-957B-F88C14ACAA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836534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2er | 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3920" y="3319811"/>
            <a:ext cx="9793088" cy="2082005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ADAA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FDDCD3F4-AF65-EC61-2BA2-768B28D9283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5696099 h 6858003"/>
              <a:gd name="connsiteX1" fmla="*/ 246 w 12192000"/>
              <a:gd name="connsiteY1" fmla="*/ 5696099 h 6858003"/>
              <a:gd name="connsiteX2" fmla="*/ 246 w 12192000"/>
              <a:gd name="connsiteY2" fmla="*/ 5908460 h 6858003"/>
              <a:gd name="connsiteX3" fmla="*/ 246 w 12192000"/>
              <a:gd name="connsiteY3" fmla="*/ 6525344 h 6858003"/>
              <a:gd name="connsiteX4" fmla="*/ 1253327 w 12192000"/>
              <a:gd name="connsiteY4" fmla="*/ 5696099 h 6858003"/>
              <a:gd name="connsiteX5" fmla="*/ 12192000 w 12192000"/>
              <a:gd name="connsiteY5" fmla="*/ 5696099 h 6858003"/>
              <a:gd name="connsiteX6" fmla="*/ 12192000 w 12192000"/>
              <a:gd name="connsiteY6" fmla="*/ 6858003 h 6858003"/>
              <a:gd name="connsiteX7" fmla="*/ 0 w 12192000"/>
              <a:gd name="connsiteY7" fmla="*/ 6858003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3122861 h 6858003"/>
              <a:gd name="connsiteX11" fmla="*/ 1253327 w 12192000"/>
              <a:gd name="connsiteY11" fmla="*/ 3122861 h 6858003"/>
              <a:gd name="connsiteX12" fmla="*/ 246 w 12192000"/>
              <a:gd name="connsiteY12" fmla="*/ 3952106 h 6858003"/>
              <a:gd name="connsiteX13" fmla="*/ 246 w 12192000"/>
              <a:gd name="connsiteY13" fmla="*/ 3122861 h 6858003"/>
              <a:gd name="connsiteX14" fmla="*/ 0 w 12192000"/>
              <a:gd name="connsiteY14" fmla="*/ 3122861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3">
                <a:moveTo>
                  <a:pt x="0" y="5696099"/>
                </a:moveTo>
                <a:lnTo>
                  <a:pt x="246" y="5696099"/>
                </a:lnTo>
                <a:lnTo>
                  <a:pt x="246" y="5908460"/>
                </a:lnTo>
                <a:lnTo>
                  <a:pt x="246" y="6525344"/>
                </a:lnTo>
                <a:lnTo>
                  <a:pt x="1253327" y="5696099"/>
                </a:lnTo>
                <a:lnTo>
                  <a:pt x="12192000" y="5696099"/>
                </a:lnTo>
                <a:lnTo>
                  <a:pt x="12192000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122861"/>
                </a:lnTo>
                <a:lnTo>
                  <a:pt x="1253327" y="3122861"/>
                </a:lnTo>
                <a:lnTo>
                  <a:pt x="246" y="3952106"/>
                </a:lnTo>
                <a:lnTo>
                  <a:pt x="246" y="3122861"/>
                </a:lnTo>
                <a:lnTo>
                  <a:pt x="0" y="3122861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6EAF33FC-FED4-A4A5-F406-DE613DB5687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763807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2er | 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3920" y="3319811"/>
            <a:ext cx="9793088" cy="2082005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FF3EB5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F5D667C7-5AC6-A338-B80B-91D9ACBD800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5696099 h 6858003"/>
              <a:gd name="connsiteX1" fmla="*/ 246 w 12192000"/>
              <a:gd name="connsiteY1" fmla="*/ 5696099 h 6858003"/>
              <a:gd name="connsiteX2" fmla="*/ 246 w 12192000"/>
              <a:gd name="connsiteY2" fmla="*/ 5908460 h 6858003"/>
              <a:gd name="connsiteX3" fmla="*/ 246 w 12192000"/>
              <a:gd name="connsiteY3" fmla="*/ 6525344 h 6858003"/>
              <a:gd name="connsiteX4" fmla="*/ 1253327 w 12192000"/>
              <a:gd name="connsiteY4" fmla="*/ 5696099 h 6858003"/>
              <a:gd name="connsiteX5" fmla="*/ 12192000 w 12192000"/>
              <a:gd name="connsiteY5" fmla="*/ 5696099 h 6858003"/>
              <a:gd name="connsiteX6" fmla="*/ 12192000 w 12192000"/>
              <a:gd name="connsiteY6" fmla="*/ 6858003 h 6858003"/>
              <a:gd name="connsiteX7" fmla="*/ 0 w 12192000"/>
              <a:gd name="connsiteY7" fmla="*/ 6858003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3122861 h 6858003"/>
              <a:gd name="connsiteX11" fmla="*/ 1253327 w 12192000"/>
              <a:gd name="connsiteY11" fmla="*/ 3122861 h 6858003"/>
              <a:gd name="connsiteX12" fmla="*/ 246 w 12192000"/>
              <a:gd name="connsiteY12" fmla="*/ 3952106 h 6858003"/>
              <a:gd name="connsiteX13" fmla="*/ 246 w 12192000"/>
              <a:gd name="connsiteY13" fmla="*/ 3122861 h 6858003"/>
              <a:gd name="connsiteX14" fmla="*/ 0 w 12192000"/>
              <a:gd name="connsiteY14" fmla="*/ 3122861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3">
                <a:moveTo>
                  <a:pt x="0" y="5696099"/>
                </a:moveTo>
                <a:lnTo>
                  <a:pt x="246" y="5696099"/>
                </a:lnTo>
                <a:lnTo>
                  <a:pt x="246" y="5908460"/>
                </a:lnTo>
                <a:lnTo>
                  <a:pt x="246" y="6525344"/>
                </a:lnTo>
                <a:lnTo>
                  <a:pt x="1253327" y="5696099"/>
                </a:lnTo>
                <a:lnTo>
                  <a:pt x="12192000" y="5696099"/>
                </a:lnTo>
                <a:lnTo>
                  <a:pt x="12192000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122861"/>
                </a:lnTo>
                <a:lnTo>
                  <a:pt x="1253327" y="3122861"/>
                </a:lnTo>
                <a:lnTo>
                  <a:pt x="246" y="3952106"/>
                </a:lnTo>
                <a:lnTo>
                  <a:pt x="246" y="3122861"/>
                </a:lnTo>
                <a:lnTo>
                  <a:pt x="0" y="3122861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6EAF33FC-FED4-A4A5-F406-DE613DB5687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655625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Dunkelblau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70" y="2385555"/>
            <a:ext cx="2765856" cy="2106615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chemeClr val="bg1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2197978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2er |  Pink">
    <p:bg>
      <p:bgPr>
        <a:solidFill>
          <a:srgbClr val="FF3E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-Platzhalter">
            <a:extLst>
              <a:ext uri="{FF2B5EF4-FFF2-40B4-BE49-F238E27FC236}">
                <a16:creationId xmlns:a16="http://schemas.microsoft.com/office/drawing/2014/main" id="{DBCE9A65-0CE1-5FB2-C766-891EE6C0DC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3920" y="3319811"/>
            <a:ext cx="9793088" cy="2082005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7B7D999F-0A04-BE38-BE73-D067F00B4B8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5696099 h 6858003"/>
              <a:gd name="connsiteX1" fmla="*/ 246 w 12192000"/>
              <a:gd name="connsiteY1" fmla="*/ 5696099 h 6858003"/>
              <a:gd name="connsiteX2" fmla="*/ 246 w 12192000"/>
              <a:gd name="connsiteY2" fmla="*/ 5908460 h 6858003"/>
              <a:gd name="connsiteX3" fmla="*/ 246 w 12192000"/>
              <a:gd name="connsiteY3" fmla="*/ 6525344 h 6858003"/>
              <a:gd name="connsiteX4" fmla="*/ 1253327 w 12192000"/>
              <a:gd name="connsiteY4" fmla="*/ 5696099 h 6858003"/>
              <a:gd name="connsiteX5" fmla="*/ 12192000 w 12192000"/>
              <a:gd name="connsiteY5" fmla="*/ 5696099 h 6858003"/>
              <a:gd name="connsiteX6" fmla="*/ 12192000 w 12192000"/>
              <a:gd name="connsiteY6" fmla="*/ 6858003 h 6858003"/>
              <a:gd name="connsiteX7" fmla="*/ 0 w 12192000"/>
              <a:gd name="connsiteY7" fmla="*/ 6858003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3122861 h 6858003"/>
              <a:gd name="connsiteX11" fmla="*/ 1253327 w 12192000"/>
              <a:gd name="connsiteY11" fmla="*/ 3122861 h 6858003"/>
              <a:gd name="connsiteX12" fmla="*/ 246 w 12192000"/>
              <a:gd name="connsiteY12" fmla="*/ 3952106 h 6858003"/>
              <a:gd name="connsiteX13" fmla="*/ 246 w 12192000"/>
              <a:gd name="connsiteY13" fmla="*/ 3122861 h 6858003"/>
              <a:gd name="connsiteX14" fmla="*/ 0 w 12192000"/>
              <a:gd name="connsiteY14" fmla="*/ 3122861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3">
                <a:moveTo>
                  <a:pt x="0" y="5696099"/>
                </a:moveTo>
                <a:lnTo>
                  <a:pt x="246" y="5696099"/>
                </a:lnTo>
                <a:lnTo>
                  <a:pt x="246" y="5908460"/>
                </a:lnTo>
                <a:lnTo>
                  <a:pt x="246" y="6525344"/>
                </a:lnTo>
                <a:lnTo>
                  <a:pt x="1253327" y="5696099"/>
                </a:lnTo>
                <a:lnTo>
                  <a:pt x="12192000" y="5696099"/>
                </a:lnTo>
                <a:lnTo>
                  <a:pt x="12192000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122861"/>
                </a:lnTo>
                <a:lnTo>
                  <a:pt x="1253327" y="3122861"/>
                </a:lnTo>
                <a:lnTo>
                  <a:pt x="246" y="3952106"/>
                </a:lnTo>
                <a:lnTo>
                  <a:pt x="246" y="3122861"/>
                </a:lnTo>
                <a:lnTo>
                  <a:pt x="0" y="3122861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6EAF33FC-FED4-A4A5-F406-DE613DB5687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397330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2er |  Türkis">
    <p:bg>
      <p:bgPr>
        <a:solidFill>
          <a:srgbClr val="10AD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3920" y="3319811"/>
            <a:ext cx="9793088" cy="2082005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2" name="Bild-Platzhalter">
            <a:extLst>
              <a:ext uri="{FF2B5EF4-FFF2-40B4-BE49-F238E27FC236}">
                <a16:creationId xmlns:a16="http://schemas.microsoft.com/office/drawing/2014/main" id="{7704C251-4C2A-F523-4A1E-EAA5B73C9EF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5696099 h 6858003"/>
              <a:gd name="connsiteX1" fmla="*/ 246 w 12192000"/>
              <a:gd name="connsiteY1" fmla="*/ 5696099 h 6858003"/>
              <a:gd name="connsiteX2" fmla="*/ 246 w 12192000"/>
              <a:gd name="connsiteY2" fmla="*/ 5908460 h 6858003"/>
              <a:gd name="connsiteX3" fmla="*/ 246 w 12192000"/>
              <a:gd name="connsiteY3" fmla="*/ 6525344 h 6858003"/>
              <a:gd name="connsiteX4" fmla="*/ 1253327 w 12192000"/>
              <a:gd name="connsiteY4" fmla="*/ 5696099 h 6858003"/>
              <a:gd name="connsiteX5" fmla="*/ 12192000 w 12192000"/>
              <a:gd name="connsiteY5" fmla="*/ 5696099 h 6858003"/>
              <a:gd name="connsiteX6" fmla="*/ 12192000 w 12192000"/>
              <a:gd name="connsiteY6" fmla="*/ 6858003 h 6858003"/>
              <a:gd name="connsiteX7" fmla="*/ 0 w 12192000"/>
              <a:gd name="connsiteY7" fmla="*/ 6858003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3122861 h 6858003"/>
              <a:gd name="connsiteX11" fmla="*/ 1253327 w 12192000"/>
              <a:gd name="connsiteY11" fmla="*/ 3122861 h 6858003"/>
              <a:gd name="connsiteX12" fmla="*/ 246 w 12192000"/>
              <a:gd name="connsiteY12" fmla="*/ 3952106 h 6858003"/>
              <a:gd name="connsiteX13" fmla="*/ 246 w 12192000"/>
              <a:gd name="connsiteY13" fmla="*/ 3122861 h 6858003"/>
              <a:gd name="connsiteX14" fmla="*/ 0 w 12192000"/>
              <a:gd name="connsiteY14" fmla="*/ 3122861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3">
                <a:moveTo>
                  <a:pt x="0" y="5696099"/>
                </a:moveTo>
                <a:lnTo>
                  <a:pt x="246" y="5696099"/>
                </a:lnTo>
                <a:lnTo>
                  <a:pt x="246" y="5908460"/>
                </a:lnTo>
                <a:lnTo>
                  <a:pt x="246" y="6525344"/>
                </a:lnTo>
                <a:lnTo>
                  <a:pt x="1253327" y="5696099"/>
                </a:lnTo>
                <a:lnTo>
                  <a:pt x="12192000" y="5696099"/>
                </a:lnTo>
                <a:lnTo>
                  <a:pt x="12192000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122861"/>
                </a:lnTo>
                <a:lnTo>
                  <a:pt x="1253327" y="3122861"/>
                </a:lnTo>
                <a:lnTo>
                  <a:pt x="246" y="3952106"/>
                </a:lnTo>
                <a:lnTo>
                  <a:pt x="246" y="3122861"/>
                </a:lnTo>
                <a:lnTo>
                  <a:pt x="0" y="3122861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6EAF33FC-FED4-A4A5-F406-DE613DB5687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874192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2er |  Violett">
    <p:bg>
      <p:bgPr>
        <a:solidFill>
          <a:srgbClr val="8C3E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3920" y="3319811"/>
            <a:ext cx="9793088" cy="2082005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AD00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2" name="Bild-Platzhalter">
            <a:extLst>
              <a:ext uri="{FF2B5EF4-FFF2-40B4-BE49-F238E27FC236}">
                <a16:creationId xmlns:a16="http://schemas.microsoft.com/office/drawing/2014/main" id="{06F6069B-C599-8929-38BC-82D68B651CD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5696099 h 6858003"/>
              <a:gd name="connsiteX1" fmla="*/ 246 w 12192000"/>
              <a:gd name="connsiteY1" fmla="*/ 5696099 h 6858003"/>
              <a:gd name="connsiteX2" fmla="*/ 246 w 12192000"/>
              <a:gd name="connsiteY2" fmla="*/ 5908460 h 6858003"/>
              <a:gd name="connsiteX3" fmla="*/ 246 w 12192000"/>
              <a:gd name="connsiteY3" fmla="*/ 6525344 h 6858003"/>
              <a:gd name="connsiteX4" fmla="*/ 1253327 w 12192000"/>
              <a:gd name="connsiteY4" fmla="*/ 5696099 h 6858003"/>
              <a:gd name="connsiteX5" fmla="*/ 12192000 w 12192000"/>
              <a:gd name="connsiteY5" fmla="*/ 5696099 h 6858003"/>
              <a:gd name="connsiteX6" fmla="*/ 12192000 w 12192000"/>
              <a:gd name="connsiteY6" fmla="*/ 6858003 h 6858003"/>
              <a:gd name="connsiteX7" fmla="*/ 0 w 12192000"/>
              <a:gd name="connsiteY7" fmla="*/ 6858003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3122861 h 6858003"/>
              <a:gd name="connsiteX11" fmla="*/ 1253327 w 12192000"/>
              <a:gd name="connsiteY11" fmla="*/ 3122861 h 6858003"/>
              <a:gd name="connsiteX12" fmla="*/ 246 w 12192000"/>
              <a:gd name="connsiteY12" fmla="*/ 3952106 h 6858003"/>
              <a:gd name="connsiteX13" fmla="*/ 246 w 12192000"/>
              <a:gd name="connsiteY13" fmla="*/ 3122861 h 6858003"/>
              <a:gd name="connsiteX14" fmla="*/ 0 w 12192000"/>
              <a:gd name="connsiteY14" fmla="*/ 3122861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3">
                <a:moveTo>
                  <a:pt x="0" y="5696099"/>
                </a:moveTo>
                <a:lnTo>
                  <a:pt x="246" y="5696099"/>
                </a:lnTo>
                <a:lnTo>
                  <a:pt x="246" y="5908460"/>
                </a:lnTo>
                <a:lnTo>
                  <a:pt x="246" y="6525344"/>
                </a:lnTo>
                <a:lnTo>
                  <a:pt x="1253327" y="5696099"/>
                </a:lnTo>
                <a:lnTo>
                  <a:pt x="12192000" y="5696099"/>
                </a:lnTo>
                <a:lnTo>
                  <a:pt x="12192000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122861"/>
                </a:lnTo>
                <a:lnTo>
                  <a:pt x="1253327" y="3122861"/>
                </a:lnTo>
                <a:lnTo>
                  <a:pt x="246" y="3952106"/>
                </a:lnTo>
                <a:lnTo>
                  <a:pt x="246" y="3122861"/>
                </a:lnTo>
                <a:lnTo>
                  <a:pt x="0" y="3122861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6EAF33FC-FED4-A4A5-F406-DE613DB5687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395744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 userDrawn="1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2er |  Orange">
    <p:bg>
      <p:bgPr>
        <a:solidFill>
          <a:srgbClr val="FF4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3920" y="3319811"/>
            <a:ext cx="9793088" cy="2082005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2" name="Bild-Platzhalter">
            <a:extLst>
              <a:ext uri="{FF2B5EF4-FFF2-40B4-BE49-F238E27FC236}">
                <a16:creationId xmlns:a16="http://schemas.microsoft.com/office/drawing/2014/main" id="{C6F78590-277F-1F3B-D142-0B558378C7B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5696099 h 6858003"/>
              <a:gd name="connsiteX1" fmla="*/ 246 w 12192000"/>
              <a:gd name="connsiteY1" fmla="*/ 5696099 h 6858003"/>
              <a:gd name="connsiteX2" fmla="*/ 246 w 12192000"/>
              <a:gd name="connsiteY2" fmla="*/ 5908460 h 6858003"/>
              <a:gd name="connsiteX3" fmla="*/ 246 w 12192000"/>
              <a:gd name="connsiteY3" fmla="*/ 6525344 h 6858003"/>
              <a:gd name="connsiteX4" fmla="*/ 1253327 w 12192000"/>
              <a:gd name="connsiteY4" fmla="*/ 5696099 h 6858003"/>
              <a:gd name="connsiteX5" fmla="*/ 12192000 w 12192000"/>
              <a:gd name="connsiteY5" fmla="*/ 5696099 h 6858003"/>
              <a:gd name="connsiteX6" fmla="*/ 12192000 w 12192000"/>
              <a:gd name="connsiteY6" fmla="*/ 6858003 h 6858003"/>
              <a:gd name="connsiteX7" fmla="*/ 0 w 12192000"/>
              <a:gd name="connsiteY7" fmla="*/ 6858003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3122861 h 6858003"/>
              <a:gd name="connsiteX11" fmla="*/ 1253327 w 12192000"/>
              <a:gd name="connsiteY11" fmla="*/ 3122861 h 6858003"/>
              <a:gd name="connsiteX12" fmla="*/ 246 w 12192000"/>
              <a:gd name="connsiteY12" fmla="*/ 3952106 h 6858003"/>
              <a:gd name="connsiteX13" fmla="*/ 246 w 12192000"/>
              <a:gd name="connsiteY13" fmla="*/ 3122861 h 6858003"/>
              <a:gd name="connsiteX14" fmla="*/ 0 w 12192000"/>
              <a:gd name="connsiteY14" fmla="*/ 3122861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3">
                <a:moveTo>
                  <a:pt x="0" y="5696099"/>
                </a:moveTo>
                <a:lnTo>
                  <a:pt x="246" y="5696099"/>
                </a:lnTo>
                <a:lnTo>
                  <a:pt x="246" y="5908460"/>
                </a:lnTo>
                <a:lnTo>
                  <a:pt x="246" y="6525344"/>
                </a:lnTo>
                <a:lnTo>
                  <a:pt x="1253327" y="5696099"/>
                </a:lnTo>
                <a:lnTo>
                  <a:pt x="12192000" y="5696099"/>
                </a:lnTo>
                <a:lnTo>
                  <a:pt x="12192000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122861"/>
                </a:lnTo>
                <a:lnTo>
                  <a:pt x="1253327" y="3122861"/>
                </a:lnTo>
                <a:lnTo>
                  <a:pt x="246" y="3952106"/>
                </a:lnTo>
                <a:lnTo>
                  <a:pt x="246" y="3122861"/>
                </a:lnTo>
                <a:lnTo>
                  <a:pt x="0" y="3122861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6EAF33FC-FED4-A4A5-F406-DE613DB5687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144828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2er |  Gold">
    <p:bg>
      <p:bgPr>
        <a:solidFill>
          <a:srgbClr val="FF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3920" y="3319811"/>
            <a:ext cx="9793088" cy="2082005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8C3E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2" name="Bild-Platzhalter">
            <a:extLst>
              <a:ext uri="{FF2B5EF4-FFF2-40B4-BE49-F238E27FC236}">
                <a16:creationId xmlns:a16="http://schemas.microsoft.com/office/drawing/2014/main" id="{8DC76236-9FE1-FC14-CADE-AEFB2FDA895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5696099 h 6858003"/>
              <a:gd name="connsiteX1" fmla="*/ 246 w 12192000"/>
              <a:gd name="connsiteY1" fmla="*/ 5696099 h 6858003"/>
              <a:gd name="connsiteX2" fmla="*/ 246 w 12192000"/>
              <a:gd name="connsiteY2" fmla="*/ 5908460 h 6858003"/>
              <a:gd name="connsiteX3" fmla="*/ 246 w 12192000"/>
              <a:gd name="connsiteY3" fmla="*/ 6525344 h 6858003"/>
              <a:gd name="connsiteX4" fmla="*/ 1253327 w 12192000"/>
              <a:gd name="connsiteY4" fmla="*/ 5696099 h 6858003"/>
              <a:gd name="connsiteX5" fmla="*/ 12192000 w 12192000"/>
              <a:gd name="connsiteY5" fmla="*/ 5696099 h 6858003"/>
              <a:gd name="connsiteX6" fmla="*/ 12192000 w 12192000"/>
              <a:gd name="connsiteY6" fmla="*/ 6858003 h 6858003"/>
              <a:gd name="connsiteX7" fmla="*/ 0 w 12192000"/>
              <a:gd name="connsiteY7" fmla="*/ 6858003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3122861 h 6858003"/>
              <a:gd name="connsiteX11" fmla="*/ 1253327 w 12192000"/>
              <a:gd name="connsiteY11" fmla="*/ 3122861 h 6858003"/>
              <a:gd name="connsiteX12" fmla="*/ 246 w 12192000"/>
              <a:gd name="connsiteY12" fmla="*/ 3952106 h 6858003"/>
              <a:gd name="connsiteX13" fmla="*/ 246 w 12192000"/>
              <a:gd name="connsiteY13" fmla="*/ 3122861 h 6858003"/>
              <a:gd name="connsiteX14" fmla="*/ 0 w 12192000"/>
              <a:gd name="connsiteY14" fmla="*/ 3122861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3">
                <a:moveTo>
                  <a:pt x="0" y="5696099"/>
                </a:moveTo>
                <a:lnTo>
                  <a:pt x="246" y="5696099"/>
                </a:lnTo>
                <a:lnTo>
                  <a:pt x="246" y="5908460"/>
                </a:lnTo>
                <a:lnTo>
                  <a:pt x="246" y="6525344"/>
                </a:lnTo>
                <a:lnTo>
                  <a:pt x="1253327" y="5696099"/>
                </a:lnTo>
                <a:lnTo>
                  <a:pt x="12192000" y="5696099"/>
                </a:lnTo>
                <a:lnTo>
                  <a:pt x="12192000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122861"/>
                </a:lnTo>
                <a:lnTo>
                  <a:pt x="1253327" y="3122861"/>
                </a:lnTo>
                <a:lnTo>
                  <a:pt x="246" y="3952106"/>
                </a:lnTo>
                <a:lnTo>
                  <a:pt x="246" y="3122861"/>
                </a:lnTo>
                <a:lnTo>
                  <a:pt x="0" y="3122861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6EAF33FC-FED4-A4A5-F406-DE613DB5687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753423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-Liste 2er |  Grün">
    <p:bg>
      <p:bgPr>
        <a:solidFill>
          <a:srgbClr val="10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-Platzhalter">
            <a:extLst>
              <a:ext uri="{FF2B5EF4-FFF2-40B4-BE49-F238E27FC236}">
                <a16:creationId xmlns:a16="http://schemas.microsoft.com/office/drawing/2014/main" id="{AF7DB9BB-81EE-31BB-99D2-555677DC73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3920" y="3319811"/>
            <a:ext cx="9793088" cy="2082005"/>
          </a:xfrm>
          <a:prstGeom prst="rect">
            <a:avLst/>
          </a:prstGeom>
          <a:noFill/>
        </p:spPr>
        <p:txBody>
          <a:bodyPr wrap="square" tIns="0" bIns="0">
            <a:noAutofit/>
          </a:bodyPr>
          <a:lstStyle>
            <a:lvl1pPr marL="432000" indent="-360000"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 sz="3600" b="1">
                <a:solidFill>
                  <a:srgbClr val="FFFFFF"/>
                </a:solidFill>
              </a:defRPr>
            </a:lvl1pPr>
            <a:lvl2pPr marL="432000" indent="0">
              <a:spcBef>
                <a:spcPts val="0"/>
              </a:spcBef>
              <a:buClr>
                <a:srgbClr val="FFFFFF"/>
              </a:buClr>
              <a:buFontTx/>
              <a:buNone/>
              <a:defRPr sz="2400" b="1">
                <a:solidFill>
                  <a:srgbClr val="10069F"/>
                </a:solidFill>
              </a:defRPr>
            </a:lvl2pPr>
            <a:lvl3pPr>
              <a:buClr>
                <a:srgbClr val="FFFFFF"/>
              </a:buClr>
              <a:defRPr/>
            </a:lvl3pPr>
            <a:lvl4pPr marL="1160462" indent="0">
              <a:buClr>
                <a:srgbClr val="FFFFFF"/>
              </a:buClr>
              <a:buNone/>
              <a:defRPr/>
            </a:lvl4pPr>
          </a:lstStyle>
          <a:p>
            <a:pPr lvl="0"/>
            <a:r>
              <a:rPr lang="de-DE" dirty="0"/>
              <a:t>Redner*in: Titel Vorname Name</a:t>
            </a:r>
          </a:p>
          <a:p>
            <a:pPr lvl="1"/>
            <a:r>
              <a:rPr lang="de-DE" dirty="0"/>
              <a:t>ggf. Funktion</a:t>
            </a:r>
          </a:p>
        </p:txBody>
      </p:sp>
      <p:sp>
        <p:nvSpPr>
          <p:cNvPr id="2" name="Bild-Platzhalter">
            <a:extLst>
              <a:ext uri="{FF2B5EF4-FFF2-40B4-BE49-F238E27FC236}">
                <a16:creationId xmlns:a16="http://schemas.microsoft.com/office/drawing/2014/main" id="{BF71DF67-9A57-3781-9F86-5B47C4DA5D5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3"/>
          </a:xfrm>
          <a:custGeom>
            <a:avLst/>
            <a:gdLst>
              <a:gd name="connsiteX0" fmla="*/ 0 w 12192000"/>
              <a:gd name="connsiteY0" fmla="*/ 5696099 h 6858003"/>
              <a:gd name="connsiteX1" fmla="*/ 246 w 12192000"/>
              <a:gd name="connsiteY1" fmla="*/ 5696099 h 6858003"/>
              <a:gd name="connsiteX2" fmla="*/ 246 w 12192000"/>
              <a:gd name="connsiteY2" fmla="*/ 5908460 h 6858003"/>
              <a:gd name="connsiteX3" fmla="*/ 246 w 12192000"/>
              <a:gd name="connsiteY3" fmla="*/ 6525344 h 6858003"/>
              <a:gd name="connsiteX4" fmla="*/ 1253327 w 12192000"/>
              <a:gd name="connsiteY4" fmla="*/ 5696099 h 6858003"/>
              <a:gd name="connsiteX5" fmla="*/ 12192000 w 12192000"/>
              <a:gd name="connsiteY5" fmla="*/ 5696099 h 6858003"/>
              <a:gd name="connsiteX6" fmla="*/ 12192000 w 12192000"/>
              <a:gd name="connsiteY6" fmla="*/ 6858003 h 6858003"/>
              <a:gd name="connsiteX7" fmla="*/ 0 w 12192000"/>
              <a:gd name="connsiteY7" fmla="*/ 6858003 h 6858003"/>
              <a:gd name="connsiteX8" fmla="*/ 0 w 12192000"/>
              <a:gd name="connsiteY8" fmla="*/ 0 h 6858003"/>
              <a:gd name="connsiteX9" fmla="*/ 12192000 w 12192000"/>
              <a:gd name="connsiteY9" fmla="*/ 0 h 6858003"/>
              <a:gd name="connsiteX10" fmla="*/ 12192000 w 12192000"/>
              <a:gd name="connsiteY10" fmla="*/ 3122861 h 6858003"/>
              <a:gd name="connsiteX11" fmla="*/ 1253327 w 12192000"/>
              <a:gd name="connsiteY11" fmla="*/ 3122861 h 6858003"/>
              <a:gd name="connsiteX12" fmla="*/ 246 w 12192000"/>
              <a:gd name="connsiteY12" fmla="*/ 3952106 h 6858003"/>
              <a:gd name="connsiteX13" fmla="*/ 246 w 12192000"/>
              <a:gd name="connsiteY13" fmla="*/ 3122861 h 6858003"/>
              <a:gd name="connsiteX14" fmla="*/ 0 w 12192000"/>
              <a:gd name="connsiteY14" fmla="*/ 3122861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3">
                <a:moveTo>
                  <a:pt x="0" y="5696099"/>
                </a:moveTo>
                <a:lnTo>
                  <a:pt x="246" y="5696099"/>
                </a:lnTo>
                <a:lnTo>
                  <a:pt x="246" y="5908460"/>
                </a:lnTo>
                <a:lnTo>
                  <a:pt x="246" y="6525344"/>
                </a:lnTo>
                <a:lnTo>
                  <a:pt x="1253327" y="5696099"/>
                </a:lnTo>
                <a:lnTo>
                  <a:pt x="12192000" y="5696099"/>
                </a:lnTo>
                <a:lnTo>
                  <a:pt x="12192000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122861"/>
                </a:lnTo>
                <a:lnTo>
                  <a:pt x="1253327" y="3122861"/>
                </a:lnTo>
                <a:lnTo>
                  <a:pt x="246" y="3952106"/>
                </a:lnTo>
                <a:lnTo>
                  <a:pt x="246" y="3122861"/>
                </a:lnTo>
                <a:lnTo>
                  <a:pt x="0" y="3122861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rIns="0" bIns="540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ntergrund-Bild durch Klick auf Symbol (in der Mitte der Folie)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6EAF33FC-FED4-A4A5-F406-DE613DB5687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2118773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Pink /Dunkelbl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5" r="7565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3" y="3740044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9976362A-64BF-C889-1B37-6E8E4BF4AA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FF3EB5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F84BD211-3D7B-334A-E033-22C76B67E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4000">
                <a:solidFill>
                  <a:srgbClr val="FFFFFF"/>
                </a:solidFill>
                <a:latin typeface="Gotham Black" pitchFamily="50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4" name="TOP">
            <a:extLst>
              <a:ext uri="{FF2B5EF4-FFF2-40B4-BE49-F238E27FC236}">
                <a16:creationId xmlns:a16="http://schemas.microsoft.com/office/drawing/2014/main" id="{9A8A3754-35E2-6E82-EB48-295178251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FF3EB5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42809510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Pink /Bl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3" y="3740044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9976362A-64BF-C889-1B37-6E8E4BF4AA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FF3EB5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F84BD211-3D7B-334A-E033-22C76B67E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4000">
                <a:solidFill>
                  <a:srgbClr val="FFFFFF"/>
                </a:solidFill>
                <a:latin typeface="Gotham Black" pitchFamily="50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4" name="TOP">
            <a:extLst>
              <a:ext uri="{FF2B5EF4-FFF2-40B4-BE49-F238E27FC236}">
                <a16:creationId xmlns:a16="http://schemas.microsoft.com/office/drawing/2014/main" id="{9A8A3754-35E2-6E82-EB48-295178251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FF3EB5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38707110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Türkis /Dunkelbl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5" r="7565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3" y="3740044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9976362A-64BF-C889-1B37-6E8E4BF4AA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10ADAA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F84BD211-3D7B-334A-E033-22C76B67E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4000">
                <a:solidFill>
                  <a:srgbClr val="FFFFFF"/>
                </a:solidFill>
                <a:latin typeface="Gotham Black" pitchFamily="50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4" name="TOP">
            <a:extLst>
              <a:ext uri="{FF2B5EF4-FFF2-40B4-BE49-F238E27FC236}">
                <a16:creationId xmlns:a16="http://schemas.microsoft.com/office/drawing/2014/main" id="{9A8A3754-35E2-6E82-EB48-295178251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10ADAA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96154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Türkis /Bl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3" y="3740044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9976362A-64BF-C889-1B37-6E8E4BF4AA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10ADAA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F84BD211-3D7B-334A-E033-22C76B67E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4000">
                <a:solidFill>
                  <a:srgbClr val="FFFFFF"/>
                </a:solidFill>
                <a:latin typeface="Gotham Black" pitchFamily="50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4" name="TOP">
            <a:extLst>
              <a:ext uri="{FF2B5EF4-FFF2-40B4-BE49-F238E27FC236}">
                <a16:creationId xmlns:a16="http://schemas.microsoft.com/office/drawing/2014/main" id="{9A8A3754-35E2-6E82-EB48-295178251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10ADAA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1799491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Pink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FF3E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25259" y="966418"/>
            <a:ext cx="2765859" cy="2107961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rgbClr val="FF3EB5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2512835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Violett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8C3E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70" y="2384884"/>
            <a:ext cx="2765857" cy="2107959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8C3E9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4723358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Violett /Dunkelbl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5" r="7565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3" y="3740044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9976362A-64BF-C889-1B37-6E8E4BF4AA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8C3E9F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F84BD211-3D7B-334A-E033-22C76B67E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4000">
                <a:solidFill>
                  <a:srgbClr val="FFFFFF"/>
                </a:solidFill>
                <a:latin typeface="Gotham Black" pitchFamily="50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4" name="TOP">
            <a:extLst>
              <a:ext uri="{FF2B5EF4-FFF2-40B4-BE49-F238E27FC236}">
                <a16:creationId xmlns:a16="http://schemas.microsoft.com/office/drawing/2014/main" id="{9A8A3754-35E2-6E82-EB48-295178251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8C3E9F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270325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Violett /Bl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3" y="3740044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9976362A-64BF-C889-1B37-6E8E4BF4AA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8C3E9F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F84BD211-3D7B-334A-E033-22C76B67E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4000">
                <a:solidFill>
                  <a:srgbClr val="FFFFFF"/>
                </a:solidFill>
                <a:latin typeface="Gotham Black" pitchFamily="50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4" name="TOP">
            <a:extLst>
              <a:ext uri="{FF2B5EF4-FFF2-40B4-BE49-F238E27FC236}">
                <a16:creationId xmlns:a16="http://schemas.microsoft.com/office/drawing/2014/main" id="{9A8A3754-35E2-6E82-EB48-295178251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8C3E9F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9721015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Orange /Dunkelbl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5" r="7565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3" y="3740044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9976362A-64BF-C889-1B37-6E8E4BF4AA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FF4414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F84BD211-3D7B-334A-E033-22C76B67E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4000">
                <a:solidFill>
                  <a:srgbClr val="FFFFFF"/>
                </a:solidFill>
                <a:latin typeface="Gotham Black" pitchFamily="50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4" name="TOP">
            <a:extLst>
              <a:ext uri="{FF2B5EF4-FFF2-40B4-BE49-F238E27FC236}">
                <a16:creationId xmlns:a16="http://schemas.microsoft.com/office/drawing/2014/main" id="{9A8A3754-35E2-6E82-EB48-295178251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FF4414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2193379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Orange /Bl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3" y="3740044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9976362A-64BF-C889-1B37-6E8E4BF4AA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FF4414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F84BD211-3D7B-334A-E033-22C76B67E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4000">
                <a:solidFill>
                  <a:srgbClr val="FFFFFF"/>
                </a:solidFill>
                <a:latin typeface="Gotham Black" pitchFamily="50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4" name="TOP">
            <a:extLst>
              <a:ext uri="{FF2B5EF4-FFF2-40B4-BE49-F238E27FC236}">
                <a16:creationId xmlns:a16="http://schemas.microsoft.com/office/drawing/2014/main" id="{9A8A3754-35E2-6E82-EB48-295178251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FF4414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2756390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Grün /Dunkelbl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5" r="7565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3" y="3740044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9976362A-64BF-C889-1B37-6E8E4BF4AA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10AD00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F84BD211-3D7B-334A-E033-22C76B67E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4000">
                <a:solidFill>
                  <a:srgbClr val="FFFFFF"/>
                </a:solidFill>
                <a:latin typeface="Gotham Black" pitchFamily="50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4" name="TOP">
            <a:extLst>
              <a:ext uri="{FF2B5EF4-FFF2-40B4-BE49-F238E27FC236}">
                <a16:creationId xmlns:a16="http://schemas.microsoft.com/office/drawing/2014/main" id="{9A8A3754-35E2-6E82-EB48-295178251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10AD00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25347610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Grün /Bl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3" y="3740044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9976362A-64BF-C889-1B37-6E8E4BF4AA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10AD00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F84BD211-3D7B-334A-E033-22C76B67E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4000">
                <a:solidFill>
                  <a:srgbClr val="FFFFFF"/>
                </a:solidFill>
                <a:latin typeface="Gotham Black" pitchFamily="50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4" name="TOP">
            <a:extLst>
              <a:ext uri="{FF2B5EF4-FFF2-40B4-BE49-F238E27FC236}">
                <a16:creationId xmlns:a16="http://schemas.microsoft.com/office/drawing/2014/main" id="{9A8A3754-35E2-6E82-EB48-295178251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10AD00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35495772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Pink /Weiß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1" y="3743228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1233AC9E-EEE0-CB4F-421A-2BDE1776FE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FF3EB5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600">
                <a:solidFill>
                  <a:srgbClr val="10065A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19" name="TOP">
            <a:extLst>
              <a:ext uri="{FF2B5EF4-FFF2-40B4-BE49-F238E27FC236}">
                <a16:creationId xmlns:a16="http://schemas.microsoft.com/office/drawing/2014/main" id="{CAA3CC7D-6A32-6B6E-963C-A1B120791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FF3EB5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688513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Pink /Weiß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1" y="3743228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1233AC9E-EEE0-CB4F-421A-2BDE1776FE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FF3EB5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600">
                <a:solidFill>
                  <a:srgbClr val="10069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19" name="TOP">
            <a:extLst>
              <a:ext uri="{FF2B5EF4-FFF2-40B4-BE49-F238E27FC236}">
                <a16:creationId xmlns:a16="http://schemas.microsoft.com/office/drawing/2014/main" id="{CAA3CC7D-6A32-6B6E-963C-A1B120791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FF3EB5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421759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Türkis /Weiß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1" y="3743228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1233AC9E-EEE0-CB4F-421A-2BDE1776FE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10ADAA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600">
                <a:solidFill>
                  <a:srgbClr val="10065A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19" name="TOP">
            <a:extLst>
              <a:ext uri="{FF2B5EF4-FFF2-40B4-BE49-F238E27FC236}">
                <a16:creationId xmlns:a16="http://schemas.microsoft.com/office/drawing/2014/main" id="{CAA3CC7D-6A32-6B6E-963C-A1B120791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10ADAA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36555997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Türkis /Weiß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1" y="3743228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1233AC9E-EEE0-CB4F-421A-2BDE1776FE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10ADAA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600">
                <a:solidFill>
                  <a:srgbClr val="10069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19" name="TOP">
            <a:extLst>
              <a:ext uri="{FF2B5EF4-FFF2-40B4-BE49-F238E27FC236}">
                <a16:creationId xmlns:a16="http://schemas.microsoft.com/office/drawing/2014/main" id="{CAA3CC7D-6A32-6B6E-963C-A1B120791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10ADAA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35666302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Violett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8C3E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70" y="2384884"/>
            <a:ext cx="2765857" cy="2107959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8C3E9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1574576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Violett /Weiß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1" y="3743228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1233AC9E-EEE0-CB4F-421A-2BDE1776FE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8C3E9F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600">
                <a:solidFill>
                  <a:srgbClr val="10065A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19" name="TOP">
            <a:extLst>
              <a:ext uri="{FF2B5EF4-FFF2-40B4-BE49-F238E27FC236}">
                <a16:creationId xmlns:a16="http://schemas.microsoft.com/office/drawing/2014/main" id="{CAA3CC7D-6A32-6B6E-963C-A1B120791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8C3E9F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9043201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Violett /Weiß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1" y="3743228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1233AC9E-EEE0-CB4F-421A-2BDE1776FE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8C3E9F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600">
                <a:solidFill>
                  <a:srgbClr val="10069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19" name="TOP">
            <a:extLst>
              <a:ext uri="{FF2B5EF4-FFF2-40B4-BE49-F238E27FC236}">
                <a16:creationId xmlns:a16="http://schemas.microsoft.com/office/drawing/2014/main" id="{CAA3CC7D-6A32-6B6E-963C-A1B120791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8C3E9F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2526634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Orange /Weiß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1" y="3743228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1233AC9E-EEE0-CB4F-421A-2BDE1776FE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FF4414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600">
                <a:solidFill>
                  <a:srgbClr val="10065A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19" name="TOP">
            <a:extLst>
              <a:ext uri="{FF2B5EF4-FFF2-40B4-BE49-F238E27FC236}">
                <a16:creationId xmlns:a16="http://schemas.microsoft.com/office/drawing/2014/main" id="{CAA3CC7D-6A32-6B6E-963C-A1B120791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FF4414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2543041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Orange /Weiß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1" y="3743228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1233AC9E-EEE0-CB4F-421A-2BDE1776FE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FF4414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600">
                <a:solidFill>
                  <a:srgbClr val="10069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19" name="TOP">
            <a:extLst>
              <a:ext uri="{FF2B5EF4-FFF2-40B4-BE49-F238E27FC236}">
                <a16:creationId xmlns:a16="http://schemas.microsoft.com/office/drawing/2014/main" id="{CAA3CC7D-6A32-6B6E-963C-A1B120791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FF4414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3207049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Gold /Weiß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1" y="3743228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1233AC9E-EEE0-CB4F-421A-2BDE1776FE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FFAD00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600">
                <a:solidFill>
                  <a:srgbClr val="10065A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19" name="TOP">
            <a:extLst>
              <a:ext uri="{FF2B5EF4-FFF2-40B4-BE49-F238E27FC236}">
                <a16:creationId xmlns:a16="http://schemas.microsoft.com/office/drawing/2014/main" id="{CAA3CC7D-6A32-6B6E-963C-A1B120791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FFAD00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39807531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NER | Grün /Weiß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eichnung">
            <a:extLst>
              <a:ext uri="{FF2B5EF4-FFF2-40B4-BE49-F238E27FC236}">
                <a16:creationId xmlns:a16="http://schemas.microsoft.com/office/drawing/2014/main" id="{E9D61FFD-E104-EEAB-54C4-4CEF70DFF851}"/>
              </a:ext>
            </a:extLst>
          </p:cNvPr>
          <p:cNvSpPr/>
          <p:nvPr userDrawn="1"/>
        </p:nvSpPr>
        <p:spPr>
          <a:xfrm>
            <a:off x="0" y="728700"/>
            <a:ext cx="12192000" cy="5646372"/>
          </a:xfrm>
          <a:custGeom>
            <a:avLst/>
            <a:gdLst>
              <a:gd name="connsiteX0" fmla="*/ 12192000 w 12192000"/>
              <a:gd name="connsiteY0" fmla="*/ 0 h 5646372"/>
              <a:gd name="connsiteX1" fmla="*/ 12192000 w 12192000"/>
              <a:gd name="connsiteY1" fmla="*/ 3663809 h 5646372"/>
              <a:gd name="connsiteX2" fmla="*/ 10425304 w 12192000"/>
              <a:gd name="connsiteY2" fmla="*/ 5646372 h 5646372"/>
              <a:gd name="connsiteX3" fmla="*/ 10416480 w 12192000"/>
              <a:gd name="connsiteY3" fmla="*/ 5638508 h 5646372"/>
              <a:gd name="connsiteX4" fmla="*/ 10416480 w 12192000"/>
              <a:gd name="connsiteY4" fmla="*/ 5646372 h 5646372"/>
              <a:gd name="connsiteX5" fmla="*/ 0 w 12192000"/>
              <a:gd name="connsiteY5" fmla="*/ 5646372 h 5646372"/>
              <a:gd name="connsiteX6" fmla="*/ 0 w 12192000"/>
              <a:gd name="connsiteY6" fmla="*/ 3149238 h 5646372"/>
              <a:gd name="connsiteX7" fmla="*/ 9385660 w 12192000"/>
              <a:gd name="connsiteY7" fmla="*/ 3149238 h 564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646372">
                <a:moveTo>
                  <a:pt x="12192000" y="0"/>
                </a:moveTo>
                <a:lnTo>
                  <a:pt x="12192000" y="3663809"/>
                </a:lnTo>
                <a:lnTo>
                  <a:pt x="10425304" y="5646372"/>
                </a:lnTo>
                <a:lnTo>
                  <a:pt x="10416480" y="5638508"/>
                </a:lnTo>
                <a:lnTo>
                  <a:pt x="10416480" y="5646372"/>
                </a:lnTo>
                <a:lnTo>
                  <a:pt x="0" y="5646372"/>
                </a:lnTo>
                <a:lnTo>
                  <a:pt x="0" y="3149238"/>
                </a:lnTo>
                <a:lnTo>
                  <a:pt x="9385660" y="31492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pic>
        <p:nvPicPr>
          <p:cNvPr id="18" name="Logo">
            <a:extLst>
              <a:ext uri="{FF2B5EF4-FFF2-40B4-BE49-F238E27FC236}">
                <a16:creationId xmlns:a16="http://schemas.microsoft.com/office/drawing/2014/main" id="{7998DBA9-FF6A-FEA8-CA4C-CA7C1231F8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8" r="7538"/>
          <a:stretch/>
        </p:blipFill>
        <p:spPr>
          <a:xfrm>
            <a:off x="10828119" y="5634000"/>
            <a:ext cx="1363881" cy="1224000"/>
          </a:xfrm>
          <a:prstGeom prst="rect">
            <a:avLst/>
          </a:prstGeom>
        </p:spPr>
      </p:pic>
      <p:sp>
        <p:nvSpPr>
          <p:cNvPr id="17" name="Bild-Platzhalter">
            <a:extLst>
              <a:ext uri="{FF2B5EF4-FFF2-40B4-BE49-F238E27FC236}">
                <a16:creationId xmlns:a16="http://schemas.microsoft.com/office/drawing/2014/main" id="{02D6FBE6-E40B-2168-A088-67140AC093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"/>
            <a:ext cx="12192000" cy="3971087"/>
          </a:xfrm>
          <a:custGeom>
            <a:avLst/>
            <a:gdLst>
              <a:gd name="connsiteX0" fmla="*/ 0 w 12192000"/>
              <a:gd name="connsiteY0" fmla="*/ 0 h 3971087"/>
              <a:gd name="connsiteX1" fmla="*/ 12192000 w 12192000"/>
              <a:gd name="connsiteY1" fmla="*/ 0 h 3971087"/>
              <a:gd name="connsiteX2" fmla="*/ 12192000 w 12192000"/>
              <a:gd name="connsiteY2" fmla="*/ 821849 h 3971087"/>
              <a:gd name="connsiteX3" fmla="*/ 9385660 w 12192000"/>
              <a:gd name="connsiteY3" fmla="*/ 3971087 h 3971087"/>
              <a:gd name="connsiteX4" fmla="*/ 0 w 12192000"/>
              <a:gd name="connsiteY4" fmla="*/ 3971087 h 397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971087">
                <a:moveTo>
                  <a:pt x="0" y="0"/>
                </a:moveTo>
                <a:lnTo>
                  <a:pt x="12192000" y="0"/>
                </a:lnTo>
                <a:lnTo>
                  <a:pt x="12192000" y="821849"/>
                </a:lnTo>
                <a:lnTo>
                  <a:pt x="9385660" y="3971087"/>
                </a:lnTo>
                <a:lnTo>
                  <a:pt x="0" y="3971087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008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31" y="3743228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" name="Zusatztext">
            <a:extLst>
              <a:ext uri="{FF2B5EF4-FFF2-40B4-BE49-F238E27FC236}">
                <a16:creationId xmlns:a16="http://schemas.microsoft.com/office/drawing/2014/main" id="{1233AC9E-EEE0-CB4F-421A-2BDE1776FE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0" y="5589240"/>
            <a:ext cx="10152000" cy="64596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1800" b="1" dirty="0">
                <a:solidFill>
                  <a:srgbClr val="10AD00"/>
                </a:solidFill>
                <a:latin typeface="Gotham Black" panose="02000603040000020004" pitchFamily="2" charset="0"/>
                <a:ea typeface="Gotham Black" panose="02000603040000020004" pitchFamily="2" charset="0"/>
              </a:defRPr>
            </a:lvl1pPr>
          </a:lstStyle>
          <a:p>
            <a:pPr marL="0" lvl="0"/>
            <a:r>
              <a:rPr lang="de-DE" dirty="0"/>
              <a:t>Redner*in: Funktion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46164"/>
            <a:ext cx="10656563" cy="75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600">
                <a:solidFill>
                  <a:srgbClr val="10069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Redner*in: Titel Vorname Name</a:t>
            </a:r>
          </a:p>
        </p:txBody>
      </p:sp>
      <p:sp>
        <p:nvSpPr>
          <p:cNvPr id="19" name="TOP">
            <a:extLst>
              <a:ext uri="{FF2B5EF4-FFF2-40B4-BE49-F238E27FC236}">
                <a16:creationId xmlns:a16="http://schemas.microsoft.com/office/drawing/2014/main" id="{CAA3CC7D-6A32-6B6E-963C-A1B120791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152" y="4314224"/>
            <a:ext cx="10650411" cy="360000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all" spc="60" baseline="0">
                <a:solidFill>
                  <a:srgbClr val="10AD00"/>
                </a:solidFill>
                <a:latin typeface="Montserra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 Vortrag</a:t>
            </a:r>
          </a:p>
        </p:txBody>
      </p:sp>
    </p:spTree>
    <p:extLst>
      <p:ext uri="{BB962C8B-B14F-4D97-AF65-F5344CB8AC3E}">
        <p14:creationId xmlns:p14="http://schemas.microsoft.com/office/powerpoint/2010/main" val="958221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">
            <a:extLst>
              <a:ext uri="{FF2B5EF4-FFF2-40B4-BE49-F238E27FC236}">
                <a16:creationId xmlns:a16="http://schemas.microsoft.com/office/drawing/2014/main" id="{97731A11-C713-C88D-BB91-277E0545AB4F}"/>
              </a:ext>
            </a:extLst>
          </p:cNvPr>
          <p:cNvSpPr txBox="1"/>
          <p:nvPr userDrawn="1"/>
        </p:nvSpPr>
        <p:spPr>
          <a:xfrm>
            <a:off x="0" y="2052228"/>
            <a:ext cx="12192000" cy="2753544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r>
              <a:rPr lang="de-DE" sz="16600" cap="all" baseline="0" dirty="0">
                <a:solidFill>
                  <a:srgbClr val="FF3EB5"/>
                </a:solidFill>
                <a:latin typeface="Montserrat Black" pitchFamily="2" charset="0"/>
              </a:rPr>
              <a:t>Inhalt</a:t>
            </a:r>
          </a:p>
        </p:txBody>
      </p:sp>
    </p:spTree>
    <p:extLst>
      <p:ext uri="{BB962C8B-B14F-4D97-AF65-F5344CB8AC3E}">
        <p14:creationId xmlns:p14="http://schemas.microsoft.com/office/powerpoint/2010/main" val="4094170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1 | 1er  /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 userDrawn="1">
            <p:ph type="dt" sz="half" idx="11"/>
          </p:nvPr>
        </p:nvSpPr>
        <p:spPr/>
        <p:txBody>
          <a:bodyPr/>
          <a:lstStyle/>
          <a:p>
            <a:fld id="{34CA2BB0-3151-438F-8F6A-715746E7531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550863" y="1196975"/>
            <a:ext cx="11161712" cy="4752975"/>
          </a:xfrm>
        </p:spPr>
        <p:txBody>
          <a:bodyPr/>
          <a:lstStyle>
            <a:lvl1pPr>
              <a:buClr>
                <a:srgbClr val="FF3EB5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383457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1 | 1er  / Weiß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 userDrawn="1">
            <p:ph type="dt" sz="half" idx="11"/>
          </p:nvPr>
        </p:nvSpPr>
        <p:spPr/>
        <p:txBody>
          <a:bodyPr/>
          <a:lstStyle/>
          <a:p>
            <a:fld id="{3381E385-2DC7-4506-A47D-4A0324536517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550863" y="1196975"/>
            <a:ext cx="11161712" cy="4752975"/>
          </a:xfrm>
        </p:spPr>
        <p:txBody>
          <a:bodyPr/>
          <a:lstStyle>
            <a:lvl1pPr>
              <a:buClr>
                <a:srgbClr val="FF3EB5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10069F"/>
              </a:buClr>
              <a:defRPr>
                <a:solidFill>
                  <a:srgbClr val="10069F"/>
                </a:solidFill>
              </a:defRPr>
            </a:lvl2pPr>
            <a:lvl3pPr>
              <a:buClr>
                <a:srgbClr val="10069F"/>
              </a:buClr>
              <a:defRPr>
                <a:solidFill>
                  <a:srgbClr val="10069F"/>
                </a:solidFill>
              </a:defRPr>
            </a:lvl3pPr>
            <a:lvl4pPr>
              <a:buClr>
                <a:srgbClr val="10069F"/>
              </a:buClr>
              <a:defRPr>
                <a:solidFill>
                  <a:srgbClr val="10069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363872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1er  /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 userDrawn="1">
            <p:ph type="dt" sz="half" idx="11"/>
          </p:nvPr>
        </p:nvSpPr>
        <p:spPr/>
        <p:txBody>
          <a:bodyPr/>
          <a:lstStyle/>
          <a:p>
            <a:fld id="{5C41D3E1-72EC-4799-8FCE-7C376B2A072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550863" y="1340768"/>
            <a:ext cx="11161712" cy="4609182"/>
          </a:xfrm>
        </p:spPr>
        <p:txBody>
          <a:bodyPr/>
          <a:lstStyle>
            <a:lvl1pPr>
              <a:buClr>
                <a:srgbClr val="10065A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76328D7D-A390-DC5F-0819-82B2BB62CD3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D052235-B279-BCA2-8DC2-840C184BE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709901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Orange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FF441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70" y="2384884"/>
            <a:ext cx="2765857" cy="2107960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4414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1220416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1er  /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 userDrawn="1">
            <p:ph type="dt" sz="half" idx="11"/>
          </p:nvPr>
        </p:nvSpPr>
        <p:spPr/>
        <p:txBody>
          <a:bodyPr/>
          <a:lstStyle/>
          <a:p>
            <a:fld id="{FE1D9D30-E8BB-4B1F-B396-B821BE30E74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550863" y="1340768"/>
            <a:ext cx="11161712" cy="4609182"/>
          </a:xfrm>
        </p:spPr>
        <p:txBody>
          <a:bodyPr/>
          <a:lstStyle>
            <a:lvl1pPr>
              <a:buClr>
                <a:srgbClr val="10069F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10069F"/>
              </a:buClr>
              <a:defRPr>
                <a:solidFill>
                  <a:srgbClr val="10069F"/>
                </a:solidFill>
              </a:defRPr>
            </a:lvl2pPr>
            <a:lvl3pPr>
              <a:buClr>
                <a:srgbClr val="10069F"/>
              </a:buClr>
              <a:defRPr>
                <a:solidFill>
                  <a:srgbClr val="10069F"/>
                </a:solidFill>
              </a:defRPr>
            </a:lvl3pPr>
            <a:lvl4pPr>
              <a:buClr>
                <a:srgbClr val="10069F"/>
              </a:buClr>
              <a:defRPr>
                <a:solidFill>
                  <a:srgbClr val="10069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76328D7D-A390-DC5F-0819-82B2BB62CD3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D052235-B279-BCA2-8DC2-840C184BE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698879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1er  /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 userDrawn="1">
            <p:ph type="dt" sz="half" idx="11"/>
          </p:nvPr>
        </p:nvSpPr>
        <p:spPr/>
        <p:txBody>
          <a:bodyPr/>
          <a:lstStyle/>
          <a:p>
            <a:fld id="{E71C542A-CA67-4D47-A89E-68796CAF24FC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550863" y="1340768"/>
            <a:ext cx="11161712" cy="4609182"/>
          </a:xfrm>
        </p:spPr>
        <p:txBody>
          <a:bodyPr/>
          <a:lstStyle>
            <a:lvl1pPr>
              <a:buClr>
                <a:srgbClr val="FF3EB5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76328D7D-A390-DC5F-0819-82B2BB62CD3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FF3E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D052235-B279-BCA2-8DC2-840C184BE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774748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1er  / Tü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 userDrawn="1">
            <p:ph type="dt" sz="half" idx="11"/>
          </p:nvPr>
        </p:nvSpPr>
        <p:spPr/>
        <p:txBody>
          <a:bodyPr/>
          <a:lstStyle/>
          <a:p>
            <a:fld id="{D155A303-B3E9-4553-9E32-DE4CDCB92FD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550863" y="1340768"/>
            <a:ext cx="11161712" cy="4609182"/>
          </a:xfrm>
        </p:spPr>
        <p:txBody>
          <a:bodyPr/>
          <a:lstStyle>
            <a:lvl1pPr>
              <a:buClr>
                <a:srgbClr val="10ADAA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76328D7D-A390-DC5F-0819-82B2BB62CD3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10AD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D052235-B279-BCA2-8DC2-840C184BE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095378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1er  /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 userDrawn="1">
            <p:ph type="dt" sz="half" idx="11"/>
          </p:nvPr>
        </p:nvSpPr>
        <p:spPr/>
        <p:txBody>
          <a:bodyPr/>
          <a:lstStyle/>
          <a:p>
            <a:fld id="{08711659-4472-42E7-BD1A-3D8C53A7A09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550863" y="1340768"/>
            <a:ext cx="11161712" cy="4609182"/>
          </a:xfrm>
        </p:spPr>
        <p:txBody>
          <a:bodyPr/>
          <a:lstStyle>
            <a:lvl1pPr>
              <a:buClr>
                <a:srgbClr val="8C3E9F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76328D7D-A390-DC5F-0819-82B2BB62CD3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8C3E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D052235-B279-BCA2-8DC2-840C184BE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542577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1er  /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 userDrawn="1">
            <p:ph type="dt" sz="half" idx="11"/>
          </p:nvPr>
        </p:nvSpPr>
        <p:spPr/>
        <p:txBody>
          <a:bodyPr/>
          <a:lstStyle/>
          <a:p>
            <a:fld id="{CE9337EF-7256-41D0-9C1B-52A51A5D3E1B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550863" y="1340768"/>
            <a:ext cx="11161712" cy="4609182"/>
          </a:xfrm>
        </p:spPr>
        <p:txBody>
          <a:bodyPr/>
          <a:lstStyle>
            <a:lvl1pPr>
              <a:buClr>
                <a:srgbClr val="FF4414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76328D7D-A390-DC5F-0819-82B2BB62CD3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FF441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D052235-B279-BCA2-8DC2-840C184BE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1375939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1er  /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 userDrawn="1">
            <p:ph type="dt" sz="half" idx="11"/>
          </p:nvPr>
        </p:nvSpPr>
        <p:spPr/>
        <p:txBody>
          <a:bodyPr/>
          <a:lstStyle/>
          <a:p>
            <a:fld id="{1A79D318-74C4-40AB-8A9E-47054EFAC45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550863" y="1340768"/>
            <a:ext cx="11161712" cy="4609182"/>
          </a:xfrm>
        </p:spPr>
        <p:txBody>
          <a:bodyPr/>
          <a:lstStyle>
            <a:lvl1pPr>
              <a:buClr>
                <a:srgbClr val="10AD00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76328D7D-A390-DC5F-0819-82B2BB62CD3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10A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D052235-B279-BCA2-8DC2-840C184BE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361893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Dunkelblau/Pi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65C1322-67E7-4BD0-95FD-59A8E215A8E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065A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FF3EB5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1702408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Dunkelblau/Tü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4A772BB-51C2-45F1-A04C-290C643DD19E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065A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ADAA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9395015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Blau/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6BDA61A-F2BC-450E-94E2-564DE462042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069F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FF3EB5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1507009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Blau/Tü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82369EF-A556-4B5A-9D9D-64C369EDA87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069F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ADAA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644542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Orange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FF441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70" y="2384884"/>
            <a:ext cx="2765857" cy="2107960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4414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242506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Pink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00F6555-F1BF-4227-A99D-B5EB7822541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3EB5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065A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632295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Pink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2ACAF66-845D-440F-B88E-99A20238A65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3EB5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069F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603982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Türkis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1FC5A13-CEB5-4DDA-8FE6-A973144489E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ADAA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065A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3920349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Türkis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E4D1FF9-4C47-4336-93DB-82D830CD4E3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ADAA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069F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605423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Violett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ED1FA3-FA6A-4B1B-8C4E-3BF9DE5E5EF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8C3E9F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AD00"/>
              </a:buClr>
              <a:defRPr>
                <a:solidFill>
                  <a:srgbClr val="10AD00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4715184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Orange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51EAF15-83E4-4DAF-8C8F-BAE10883EBDF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4414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065A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907545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Orange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E3467BB-DCD9-4136-8E43-AE119AB2E27F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4414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069F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740481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Grün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138F91F-CD2E-4A43-9332-044EC9AA141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AD00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065A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2228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Grün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FABFD5D-2D4F-4745-B990-F9F5B70C9401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AD00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069F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589346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Blaugrau/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2C7609-BED2-4E9C-A71D-CCD394C14F0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FF3EB5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10065A"/>
              </a:buClr>
              <a:defRPr>
                <a:solidFill>
                  <a:srgbClr val="10065A"/>
                </a:solidFill>
              </a:defRPr>
            </a:lvl2pPr>
            <a:lvl3pPr>
              <a:buClr>
                <a:srgbClr val="10065A"/>
              </a:buClr>
              <a:defRPr>
                <a:solidFill>
                  <a:srgbClr val="10065A"/>
                </a:solidFill>
              </a:defRPr>
            </a:lvl3pPr>
            <a:lvl4pPr>
              <a:buClr>
                <a:srgbClr val="10065A"/>
              </a:buClr>
              <a:defRPr>
                <a:solidFill>
                  <a:srgbClr val="10065A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308575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Grün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10A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69" y="2384884"/>
            <a:ext cx="2765859" cy="2107960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10AD00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32922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Blaugrau/Tü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97ED2B5-1C2B-4CC3-BD5E-75806D79B99C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ADAA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10065A"/>
              </a:buClr>
              <a:defRPr>
                <a:solidFill>
                  <a:srgbClr val="10065A"/>
                </a:solidFill>
              </a:defRPr>
            </a:lvl2pPr>
            <a:lvl3pPr>
              <a:buClr>
                <a:srgbClr val="10065A"/>
              </a:buClr>
              <a:defRPr>
                <a:solidFill>
                  <a:srgbClr val="10065A"/>
                </a:solidFill>
              </a:defRPr>
            </a:lvl3pPr>
            <a:lvl4pPr>
              <a:buClr>
                <a:srgbClr val="10065A"/>
              </a:buClr>
              <a:defRPr>
                <a:solidFill>
                  <a:srgbClr val="10065A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8996361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Blaugrau/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D2CBC3-3BAE-4D37-8DF2-E6B97EF366FE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8C3E9F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10065A"/>
              </a:buClr>
              <a:defRPr>
                <a:solidFill>
                  <a:srgbClr val="10065A"/>
                </a:solidFill>
              </a:defRPr>
            </a:lvl2pPr>
            <a:lvl3pPr>
              <a:buClr>
                <a:srgbClr val="10065A"/>
              </a:buClr>
              <a:defRPr>
                <a:solidFill>
                  <a:srgbClr val="10065A"/>
                </a:solidFill>
              </a:defRPr>
            </a:lvl3pPr>
            <a:lvl4pPr>
              <a:buClr>
                <a:srgbClr val="10065A"/>
              </a:buClr>
              <a:defRPr>
                <a:solidFill>
                  <a:srgbClr val="10065A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9365860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Blaugrau/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311BB20-6663-4660-9F56-B23A45173EA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FF4414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10065A"/>
              </a:buClr>
              <a:defRPr>
                <a:solidFill>
                  <a:srgbClr val="10065A"/>
                </a:solidFill>
              </a:defRPr>
            </a:lvl2pPr>
            <a:lvl3pPr>
              <a:buClr>
                <a:srgbClr val="10065A"/>
              </a:buClr>
              <a:defRPr>
                <a:solidFill>
                  <a:srgbClr val="10065A"/>
                </a:solidFill>
              </a:defRPr>
            </a:lvl3pPr>
            <a:lvl4pPr>
              <a:buClr>
                <a:srgbClr val="10065A"/>
              </a:buClr>
              <a:defRPr>
                <a:solidFill>
                  <a:srgbClr val="10065A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143089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Blaugrau/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F4DD564-5F21-473A-B566-F7779E8123CC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FFAD00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10065A"/>
              </a:buClr>
              <a:defRPr>
                <a:solidFill>
                  <a:srgbClr val="10065A"/>
                </a:solidFill>
              </a:defRPr>
            </a:lvl2pPr>
            <a:lvl3pPr>
              <a:buClr>
                <a:srgbClr val="10065A"/>
              </a:buClr>
              <a:defRPr>
                <a:solidFill>
                  <a:srgbClr val="10065A"/>
                </a:solidFill>
              </a:defRPr>
            </a:lvl3pPr>
            <a:lvl4pPr>
              <a:buClr>
                <a:srgbClr val="10065A"/>
              </a:buClr>
              <a:defRPr>
                <a:solidFill>
                  <a:srgbClr val="10065A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6889805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1er  / Blaugrau/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464B8FD-46DD-4F1A-A32A-E36333419F2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A040566-60A7-E868-927B-B4761DC911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11161712" cy="4825206"/>
          </a:xfrm>
          <a:custGeom>
            <a:avLst/>
            <a:gdLst>
              <a:gd name="connsiteX0" fmla="*/ 0 w 11161712"/>
              <a:gd name="connsiteY0" fmla="*/ 0 h 4752975"/>
              <a:gd name="connsiteX1" fmla="*/ 11161712 w 11161712"/>
              <a:gd name="connsiteY1" fmla="*/ 0 h 4752975"/>
              <a:gd name="connsiteX2" fmla="*/ 11161712 w 11161712"/>
              <a:gd name="connsiteY2" fmla="*/ 4188008 h 4752975"/>
              <a:gd name="connsiteX3" fmla="*/ 10236992 w 11161712"/>
              <a:gd name="connsiteY3" fmla="*/ 4752975 h 4752975"/>
              <a:gd name="connsiteX4" fmla="*/ 0 w 11161712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61712" h="4752975">
                <a:moveTo>
                  <a:pt x="0" y="0"/>
                </a:moveTo>
                <a:lnTo>
                  <a:pt x="11161712" y="0"/>
                </a:lnTo>
                <a:lnTo>
                  <a:pt x="11161712" y="4188008"/>
                </a:lnTo>
                <a:lnTo>
                  <a:pt x="10236992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80000" rIns="72000" bIns="72000">
            <a:noAutofit/>
          </a:bodyPr>
          <a:lstStyle>
            <a:lvl1pPr>
              <a:buClr>
                <a:srgbClr val="10AD00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10065A"/>
              </a:buClr>
              <a:defRPr>
                <a:solidFill>
                  <a:srgbClr val="10065A"/>
                </a:solidFill>
              </a:defRPr>
            </a:lvl2pPr>
            <a:lvl3pPr>
              <a:buClr>
                <a:srgbClr val="10065A"/>
              </a:buClr>
              <a:defRPr>
                <a:solidFill>
                  <a:srgbClr val="10065A"/>
                </a:solidFill>
              </a:defRPr>
            </a:lvl3pPr>
            <a:lvl4pPr>
              <a:buClr>
                <a:srgbClr val="10065A"/>
              </a:buClr>
              <a:defRPr>
                <a:solidFill>
                  <a:srgbClr val="10065A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693438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2er  /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4CF67AF-5B8A-488F-8BB7-C6F92F0B2B77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8389385C-08FC-8398-783B-C2180BF027D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6 w 5400000"/>
              <a:gd name="connsiteY1" fmla="*/ 0 h 4752975"/>
              <a:gd name="connsiteX2" fmla="*/ 5400000 w 5400000"/>
              <a:gd name="connsiteY2" fmla="*/ 483020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6" y="0"/>
                </a:lnTo>
                <a:lnTo>
                  <a:pt x="5400000" y="483020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065A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ADAA"/>
              </a:buClr>
              <a:defRPr lang="de-DE" sz="2400" kern="1200" dirty="0">
                <a:solidFill>
                  <a:srgbClr val="FFFFF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3066642C-BD71-38ED-72A2-9357E89234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5 w 5400000"/>
              <a:gd name="connsiteY1" fmla="*/ 0 h 4752975"/>
              <a:gd name="connsiteX2" fmla="*/ 5400000 w 5400000"/>
              <a:gd name="connsiteY2" fmla="*/ 483021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5" y="0"/>
                </a:lnTo>
                <a:lnTo>
                  <a:pt x="5400000" y="483021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065A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ADAA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533882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2er  / Blaugrau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3176EF5-5380-4E49-B828-CB53BF531BE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8389385C-08FC-8398-783B-C2180BF027D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6 w 5400000"/>
              <a:gd name="connsiteY1" fmla="*/ 0 h 4752975"/>
              <a:gd name="connsiteX2" fmla="*/ 5400000 w 5400000"/>
              <a:gd name="connsiteY2" fmla="*/ 483020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6" y="0"/>
                </a:lnTo>
                <a:lnTo>
                  <a:pt x="5400000" y="483020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80000" rIns="144000" bIns="72000">
            <a:noAutofit/>
          </a:bodyPr>
          <a:lstStyle>
            <a:lvl1pPr marL="263525" indent="-263525">
              <a:buClr>
                <a:srgbClr val="10ADAA"/>
              </a:buClr>
              <a:defRPr lang="de-DE" sz="2400" kern="1200" dirty="0">
                <a:solidFill>
                  <a:srgbClr val="10065A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719138" indent="-431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2400" kern="1200" dirty="0">
                <a:solidFill>
                  <a:srgbClr val="10065A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1160463" indent="-441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2400" kern="1200" dirty="0">
                <a:solidFill>
                  <a:srgbClr val="10065A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1612900" indent="-4524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2400" kern="1200" dirty="0">
                <a:solidFill>
                  <a:srgbClr val="10065A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</a:lstStyle>
          <a:p>
            <a:pPr marL="263525" lvl="0" indent="-26352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ADAA"/>
              </a:buClr>
              <a:buFont typeface="VCI_Symbole" panose="02000503000000000000" pitchFamily="2" charset="2"/>
              <a:buChar char=""/>
            </a:pPr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3066642C-BD71-38ED-72A2-9357E89234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5 w 5400000"/>
              <a:gd name="connsiteY1" fmla="*/ 0 h 4752975"/>
              <a:gd name="connsiteX2" fmla="*/ 5400000 w 5400000"/>
              <a:gd name="connsiteY2" fmla="*/ 483021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5" y="0"/>
                </a:lnTo>
                <a:lnTo>
                  <a:pt x="5400000" y="483021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ADAA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10065A"/>
              </a:buClr>
              <a:defRPr>
                <a:solidFill>
                  <a:srgbClr val="10065A"/>
                </a:solidFill>
              </a:defRPr>
            </a:lvl2pPr>
            <a:lvl3pPr>
              <a:buClr>
                <a:srgbClr val="10065A"/>
              </a:buClr>
              <a:defRPr>
                <a:solidFill>
                  <a:srgbClr val="10065A"/>
                </a:solidFill>
              </a:defRPr>
            </a:lvl3pPr>
            <a:lvl4pPr>
              <a:buClr>
                <a:srgbClr val="10065A"/>
              </a:buClr>
              <a:defRPr>
                <a:solidFill>
                  <a:srgbClr val="10065A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37334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2er  /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DD309A9-6DF2-4B12-A934-437DA599B8D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8389385C-08FC-8398-783B-C2180BF027D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6 w 5400000"/>
              <a:gd name="connsiteY1" fmla="*/ 0 h 4752975"/>
              <a:gd name="connsiteX2" fmla="*/ 5400000 w 5400000"/>
              <a:gd name="connsiteY2" fmla="*/ 483020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6" y="0"/>
                </a:lnTo>
                <a:lnTo>
                  <a:pt x="5400000" y="483020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069F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FF3EB5"/>
              </a:buClr>
              <a:defRPr lang="de-DE" sz="2400" kern="1200" dirty="0">
                <a:solidFill>
                  <a:srgbClr val="FFFFF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3066642C-BD71-38ED-72A2-9357E89234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5 w 5400000"/>
              <a:gd name="connsiteY1" fmla="*/ 0 h 4752975"/>
              <a:gd name="connsiteX2" fmla="*/ 5400000 w 5400000"/>
              <a:gd name="connsiteY2" fmla="*/ 483021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5" y="0"/>
                </a:lnTo>
                <a:lnTo>
                  <a:pt x="5400000" y="483021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069F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FF3EB5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0852005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2er  / Blaugrau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6D5DF1B-BF76-4545-802D-BCD192F41AD7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8389385C-08FC-8398-783B-C2180BF027D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6 w 5400000"/>
              <a:gd name="connsiteY1" fmla="*/ 0 h 4752975"/>
              <a:gd name="connsiteX2" fmla="*/ 5400000 w 5400000"/>
              <a:gd name="connsiteY2" fmla="*/ 483020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6" y="0"/>
                </a:lnTo>
                <a:lnTo>
                  <a:pt x="5400000" y="483020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80000" rIns="144000" bIns="72000">
            <a:noAutofit/>
          </a:bodyPr>
          <a:lstStyle>
            <a:lvl1pPr marL="263525" indent="-263525">
              <a:buClr>
                <a:srgbClr val="10ADAA"/>
              </a:buClr>
              <a:defRPr lang="de-DE" sz="2400" kern="1200" dirty="0">
                <a:solidFill>
                  <a:srgbClr val="10069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719138" indent="-431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10069F"/>
              </a:buClr>
              <a:buFont typeface="VCI_Symbole" panose="02000503000000000000" pitchFamily="2" charset="2"/>
              <a:buChar char=""/>
              <a:defRPr lang="de-DE" sz="2400" kern="1200" dirty="0">
                <a:solidFill>
                  <a:srgbClr val="10069F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1160463" indent="-441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10069F"/>
              </a:buClr>
              <a:buFont typeface="VCI_Symbole" panose="02000503000000000000" pitchFamily="2" charset="2"/>
              <a:buChar char=""/>
              <a:defRPr lang="de-DE" sz="2400" kern="1200" dirty="0">
                <a:solidFill>
                  <a:srgbClr val="10069F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1612900" indent="-4524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10069F"/>
              </a:buClr>
              <a:buFont typeface="VCI_Symbole" panose="02000503000000000000" pitchFamily="2" charset="2"/>
              <a:buChar char=""/>
              <a:defRPr lang="de-DE" sz="2400" kern="1200" dirty="0">
                <a:solidFill>
                  <a:srgbClr val="10069F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</a:lstStyle>
          <a:p>
            <a:pPr marL="263525" lvl="0" indent="-26352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ADAA"/>
              </a:buClr>
              <a:buFont typeface="VCI_Symbole" panose="02000503000000000000" pitchFamily="2" charset="2"/>
              <a:buChar char=""/>
            </a:pPr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3066642C-BD71-38ED-72A2-9357E89234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5 w 5400000"/>
              <a:gd name="connsiteY1" fmla="*/ 0 h 4752975"/>
              <a:gd name="connsiteX2" fmla="*/ 5400000 w 5400000"/>
              <a:gd name="connsiteY2" fmla="*/ 483021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5" y="0"/>
                </a:lnTo>
                <a:lnTo>
                  <a:pt x="5400000" y="483021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ADAA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10069F"/>
              </a:buClr>
              <a:defRPr>
                <a:solidFill>
                  <a:srgbClr val="10069F"/>
                </a:solidFill>
              </a:defRPr>
            </a:lvl2pPr>
            <a:lvl3pPr>
              <a:buClr>
                <a:srgbClr val="10069F"/>
              </a:buClr>
              <a:defRPr>
                <a:solidFill>
                  <a:srgbClr val="10069F"/>
                </a:solidFill>
              </a:defRPr>
            </a:lvl3pPr>
            <a:lvl4pPr>
              <a:buClr>
                <a:srgbClr val="10069F"/>
              </a:buClr>
              <a:defRPr>
                <a:solidFill>
                  <a:srgbClr val="10069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648837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2er  /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F2B2C97-12F0-4BB1-A13F-7BFF4164A4B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8389385C-08FC-8398-783B-C2180BF027D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6 w 5400000"/>
              <a:gd name="connsiteY1" fmla="*/ 0 h 4752975"/>
              <a:gd name="connsiteX2" fmla="*/ 5400000 w 5400000"/>
              <a:gd name="connsiteY2" fmla="*/ 483020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6" y="0"/>
                </a:lnTo>
                <a:lnTo>
                  <a:pt x="5400000" y="483020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3EB5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069F"/>
              </a:buClr>
              <a:defRPr lang="de-DE" sz="2400" kern="1200" dirty="0">
                <a:solidFill>
                  <a:srgbClr val="FFFFF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3066642C-BD71-38ED-72A2-9357E89234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5 w 5400000"/>
              <a:gd name="connsiteY1" fmla="*/ 0 h 4752975"/>
              <a:gd name="connsiteX2" fmla="*/ 5400000 w 5400000"/>
              <a:gd name="connsiteY2" fmla="*/ 483021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5" y="0"/>
                </a:lnTo>
                <a:lnTo>
                  <a:pt x="5400000" y="483021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3EB5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069F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362061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2 | Grün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reieck">
            <a:extLst>
              <a:ext uri="{FF2B5EF4-FFF2-40B4-BE49-F238E27FC236}">
                <a16:creationId xmlns:a16="http://schemas.microsoft.com/office/drawing/2014/main" id="{37329CB3-3026-7830-1B54-FD205FF5CCCE}"/>
              </a:ext>
            </a:extLst>
          </p:cNvPr>
          <p:cNvSpPr/>
          <p:nvPr userDrawn="1"/>
        </p:nvSpPr>
        <p:spPr>
          <a:xfrm flipH="1">
            <a:off x="9876419" y="4521034"/>
            <a:ext cx="2315577" cy="2336965"/>
          </a:xfrm>
          <a:prstGeom prst="rtTriangle">
            <a:avLst/>
          </a:prstGeom>
          <a:solidFill>
            <a:srgbClr val="10A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0C9DBC-B9FA-6737-0E8A-D449B0E7BAB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1841480" cy="4148894"/>
          </a:xfrm>
          <a:custGeom>
            <a:avLst/>
            <a:gdLst>
              <a:gd name="connsiteX0" fmla="*/ 0 w 11841480"/>
              <a:gd name="connsiteY0" fmla="*/ 0 h 4148894"/>
              <a:gd name="connsiteX1" fmla="*/ 11841480 w 11841480"/>
              <a:gd name="connsiteY1" fmla="*/ 0 h 4148894"/>
              <a:gd name="connsiteX2" fmla="*/ 8326667 w 11841480"/>
              <a:gd name="connsiteY2" fmla="*/ 4148894 h 4148894"/>
              <a:gd name="connsiteX3" fmla="*/ 0 w 11841480"/>
              <a:gd name="connsiteY3" fmla="*/ 4148894 h 414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41480" h="4148894">
                <a:moveTo>
                  <a:pt x="0" y="0"/>
                </a:moveTo>
                <a:lnTo>
                  <a:pt x="11841480" y="0"/>
                </a:lnTo>
                <a:lnTo>
                  <a:pt x="8326667" y="4148894"/>
                </a:lnTo>
                <a:lnTo>
                  <a:pt x="0" y="4148894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2" y="393308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9769" y="2384884"/>
            <a:ext cx="2765859" cy="2107960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6201352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10AD00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4531085"/>
            <a:ext cx="10800000" cy="1584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4000">
                <a:solidFill>
                  <a:srgbClr val="FFFFF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</p:spTree>
    <p:extLst>
      <p:ext uri="{BB962C8B-B14F-4D97-AF65-F5344CB8AC3E}">
        <p14:creationId xmlns:p14="http://schemas.microsoft.com/office/powerpoint/2010/main" val="542186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2er  / Tü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34DC091-7D36-4140-9228-A98E24DBF1E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8389385C-08FC-8398-783B-C2180BF027D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6 w 5400000"/>
              <a:gd name="connsiteY1" fmla="*/ 0 h 4752975"/>
              <a:gd name="connsiteX2" fmla="*/ 5400000 w 5400000"/>
              <a:gd name="connsiteY2" fmla="*/ 483020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6" y="0"/>
                </a:lnTo>
                <a:lnTo>
                  <a:pt x="5400000" y="483020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ADAA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069F"/>
              </a:buClr>
              <a:defRPr lang="de-DE" sz="2400" kern="1200" dirty="0">
                <a:solidFill>
                  <a:srgbClr val="FFFFF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3066642C-BD71-38ED-72A2-9357E89234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5 w 5400000"/>
              <a:gd name="connsiteY1" fmla="*/ 0 h 4752975"/>
              <a:gd name="connsiteX2" fmla="*/ 5400000 w 5400000"/>
              <a:gd name="connsiteY2" fmla="*/ 483021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5" y="0"/>
                </a:lnTo>
                <a:lnTo>
                  <a:pt x="5400000" y="483021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ADAA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069F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6882509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2er  /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255D88A-A9C4-47A4-AEC1-AB7B100C516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8389385C-08FC-8398-783B-C2180BF027D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6 w 5400000"/>
              <a:gd name="connsiteY1" fmla="*/ 0 h 4752975"/>
              <a:gd name="connsiteX2" fmla="*/ 5400000 w 5400000"/>
              <a:gd name="connsiteY2" fmla="*/ 483020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6" y="0"/>
                </a:lnTo>
                <a:lnTo>
                  <a:pt x="5400000" y="483020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8C3E9F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AD00"/>
              </a:buClr>
              <a:defRPr lang="de-DE" sz="2400" kern="1200" dirty="0">
                <a:solidFill>
                  <a:srgbClr val="FFFFF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3066642C-BD71-38ED-72A2-9357E89234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5 w 5400000"/>
              <a:gd name="connsiteY1" fmla="*/ 0 h 4752975"/>
              <a:gd name="connsiteX2" fmla="*/ 5400000 w 5400000"/>
              <a:gd name="connsiteY2" fmla="*/ 483021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5" y="0"/>
                </a:lnTo>
                <a:lnTo>
                  <a:pt x="5400000" y="483021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8C3E9F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AD00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397207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2er  /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49FE4DF-6F6F-4407-90AB-DE09AA252C0D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8389385C-08FC-8398-783B-C2180BF027D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6 w 5400000"/>
              <a:gd name="connsiteY1" fmla="*/ 0 h 4752975"/>
              <a:gd name="connsiteX2" fmla="*/ 5400000 w 5400000"/>
              <a:gd name="connsiteY2" fmla="*/ 483020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6" y="0"/>
                </a:lnTo>
                <a:lnTo>
                  <a:pt x="5400000" y="483020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4414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065A"/>
              </a:buClr>
              <a:defRPr lang="de-DE" sz="2400" kern="1200" dirty="0">
                <a:solidFill>
                  <a:srgbClr val="FFFFF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3066642C-BD71-38ED-72A2-9357E89234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5 w 5400000"/>
              <a:gd name="connsiteY1" fmla="*/ 0 h 4752975"/>
              <a:gd name="connsiteX2" fmla="*/ 5400000 w 5400000"/>
              <a:gd name="connsiteY2" fmla="*/ 483021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5" y="0"/>
                </a:lnTo>
                <a:lnTo>
                  <a:pt x="5400000" y="483021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FF4414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065A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0363250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3 | 2er  /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ABD5BC9-ADEF-473E-AD0E-E053852B476C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8389385C-08FC-8398-783B-C2180BF027D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6 w 5400000"/>
              <a:gd name="connsiteY1" fmla="*/ 0 h 4752975"/>
              <a:gd name="connsiteX2" fmla="*/ 5400000 w 5400000"/>
              <a:gd name="connsiteY2" fmla="*/ 483020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6" y="0"/>
                </a:lnTo>
                <a:lnTo>
                  <a:pt x="5400000" y="483020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AD00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065A"/>
              </a:buClr>
              <a:defRPr lang="de-DE" sz="2400" kern="1200" dirty="0">
                <a:solidFill>
                  <a:srgbClr val="FFFFFF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3066642C-BD71-38ED-72A2-9357E89234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24745"/>
            <a:ext cx="5400000" cy="4825206"/>
          </a:xfrm>
          <a:custGeom>
            <a:avLst/>
            <a:gdLst>
              <a:gd name="connsiteX0" fmla="*/ 0 w 5400000"/>
              <a:gd name="connsiteY0" fmla="*/ 0 h 4752975"/>
              <a:gd name="connsiteX1" fmla="*/ 4635035 w 5400000"/>
              <a:gd name="connsiteY1" fmla="*/ 0 h 4752975"/>
              <a:gd name="connsiteX2" fmla="*/ 5400000 w 5400000"/>
              <a:gd name="connsiteY2" fmla="*/ 483021 h 4752975"/>
              <a:gd name="connsiteX3" fmla="*/ 5400000 w 5400000"/>
              <a:gd name="connsiteY3" fmla="*/ 4752975 h 4752975"/>
              <a:gd name="connsiteX4" fmla="*/ 0 w 5400000"/>
              <a:gd name="connsiteY4" fmla="*/ 4752975 h 47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0000" h="4752975">
                <a:moveTo>
                  <a:pt x="0" y="0"/>
                </a:moveTo>
                <a:lnTo>
                  <a:pt x="4635035" y="0"/>
                </a:lnTo>
                <a:lnTo>
                  <a:pt x="5400000" y="483021"/>
                </a:lnTo>
                <a:lnTo>
                  <a:pt x="5400000" y="4752975"/>
                </a:lnTo>
                <a:lnTo>
                  <a:pt x="0" y="4752975"/>
                </a:lnTo>
                <a:close/>
              </a:path>
            </a:pathLst>
          </a:custGeom>
          <a:solidFill>
            <a:srgbClr val="10AD00"/>
          </a:solidFill>
        </p:spPr>
        <p:txBody>
          <a:bodyPr wrap="square" lIns="108000" tIns="180000" rIns="144000" bIns="72000">
            <a:noAutofit/>
          </a:bodyPr>
          <a:lstStyle>
            <a:lvl1pPr>
              <a:buClr>
                <a:srgbClr val="10065A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402094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1 | 2er  /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3476F7-10C1-4D54-9B0F-632188F454CB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Inhalt2">
            <a:extLst>
              <a:ext uri="{FF2B5EF4-FFF2-40B4-BE49-F238E27FC236}">
                <a16:creationId xmlns:a16="http://schemas.microsoft.com/office/drawing/2014/main" id="{A90C4970-7E53-617A-402A-1814995726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196975"/>
            <a:ext cx="5400000" cy="4752975"/>
          </a:xfrm>
        </p:spPr>
        <p:txBody>
          <a:bodyPr/>
          <a:lstStyle>
            <a:lvl1pPr>
              <a:buClr>
                <a:srgbClr val="FF3EB5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5400000" cy="4752975"/>
          </a:xfrm>
        </p:spPr>
        <p:txBody>
          <a:bodyPr/>
          <a:lstStyle>
            <a:lvl1pPr>
              <a:buClr>
                <a:srgbClr val="FF3EB5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614099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1 | 2er  / Weiß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9736844-2D11-413D-8FD4-D73E8FBC6076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Inhalt2">
            <a:extLst>
              <a:ext uri="{FF2B5EF4-FFF2-40B4-BE49-F238E27FC236}">
                <a16:creationId xmlns:a16="http://schemas.microsoft.com/office/drawing/2014/main" id="{A90C4970-7E53-617A-402A-1814995726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196975"/>
            <a:ext cx="5400000" cy="4752975"/>
          </a:xfrm>
        </p:spPr>
        <p:txBody>
          <a:bodyPr/>
          <a:lstStyle>
            <a:lvl1pPr>
              <a:buClr>
                <a:srgbClr val="FF3EB5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10069F"/>
              </a:buClr>
              <a:defRPr>
                <a:solidFill>
                  <a:srgbClr val="10069F"/>
                </a:solidFill>
              </a:defRPr>
            </a:lvl2pPr>
            <a:lvl3pPr>
              <a:buClr>
                <a:srgbClr val="10069F"/>
              </a:buClr>
              <a:defRPr>
                <a:solidFill>
                  <a:srgbClr val="10069F"/>
                </a:solidFill>
              </a:defRPr>
            </a:lvl3pPr>
            <a:lvl4pPr>
              <a:buClr>
                <a:srgbClr val="10069F"/>
              </a:buClr>
              <a:defRPr>
                <a:solidFill>
                  <a:srgbClr val="10069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5400000" cy="4752975"/>
          </a:xfrm>
        </p:spPr>
        <p:txBody>
          <a:bodyPr/>
          <a:lstStyle>
            <a:lvl1pPr>
              <a:buClr>
                <a:srgbClr val="FF3EB5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10069F"/>
              </a:buClr>
              <a:defRPr>
                <a:solidFill>
                  <a:srgbClr val="10069F"/>
                </a:solidFill>
              </a:defRPr>
            </a:lvl2pPr>
            <a:lvl3pPr>
              <a:buClr>
                <a:srgbClr val="10069F"/>
              </a:buClr>
              <a:defRPr>
                <a:solidFill>
                  <a:srgbClr val="10069F"/>
                </a:solidFill>
              </a:defRPr>
            </a:lvl3pPr>
            <a:lvl4pPr>
              <a:buClr>
                <a:srgbClr val="10069F"/>
              </a:buClr>
              <a:defRPr>
                <a:solidFill>
                  <a:srgbClr val="10069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999723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2er  /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E7D9236-BEBF-48A2-A39C-6881E525123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Inhalt2">
            <a:extLst>
              <a:ext uri="{FF2B5EF4-FFF2-40B4-BE49-F238E27FC236}">
                <a16:creationId xmlns:a16="http://schemas.microsoft.com/office/drawing/2014/main" id="{A90C4970-7E53-617A-402A-1814995726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340768"/>
            <a:ext cx="5400000" cy="4609182"/>
          </a:xfrm>
        </p:spPr>
        <p:txBody>
          <a:bodyPr/>
          <a:lstStyle>
            <a:lvl1pPr>
              <a:buClr>
                <a:srgbClr val="10065A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340768"/>
            <a:ext cx="5400000" cy="4609182"/>
          </a:xfrm>
        </p:spPr>
        <p:txBody>
          <a:bodyPr/>
          <a:lstStyle>
            <a:lvl1pPr>
              <a:buClr>
                <a:srgbClr val="10065A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89565-DA3A-BA99-08F0-1750D1C238B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17FE683B-568B-D7E1-0CB4-727A9B026A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785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2er  /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9357B76-6CE7-4596-95E3-D7D76CC074BF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Inhalt2">
            <a:extLst>
              <a:ext uri="{FF2B5EF4-FFF2-40B4-BE49-F238E27FC236}">
                <a16:creationId xmlns:a16="http://schemas.microsoft.com/office/drawing/2014/main" id="{A90C4970-7E53-617A-402A-1814995726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340768"/>
            <a:ext cx="5400000" cy="4609182"/>
          </a:xfrm>
        </p:spPr>
        <p:txBody>
          <a:bodyPr/>
          <a:lstStyle>
            <a:lvl1pPr>
              <a:buClr>
                <a:srgbClr val="10069F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10069F"/>
              </a:buClr>
              <a:defRPr>
                <a:solidFill>
                  <a:srgbClr val="10069F"/>
                </a:solidFill>
              </a:defRPr>
            </a:lvl2pPr>
            <a:lvl3pPr>
              <a:buClr>
                <a:srgbClr val="10069F"/>
              </a:buClr>
              <a:defRPr>
                <a:solidFill>
                  <a:srgbClr val="10069F"/>
                </a:solidFill>
              </a:defRPr>
            </a:lvl3pPr>
            <a:lvl4pPr>
              <a:buClr>
                <a:srgbClr val="10069F"/>
              </a:buClr>
              <a:defRPr>
                <a:solidFill>
                  <a:srgbClr val="10069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340768"/>
            <a:ext cx="5400000" cy="4609182"/>
          </a:xfrm>
        </p:spPr>
        <p:txBody>
          <a:bodyPr/>
          <a:lstStyle>
            <a:lvl1pPr>
              <a:buClr>
                <a:srgbClr val="10069F"/>
              </a:buClr>
              <a:defRPr/>
            </a:lvl1pPr>
            <a:lvl2pPr>
              <a:buClr>
                <a:srgbClr val="10069F"/>
              </a:buClr>
              <a:defRPr>
                <a:solidFill>
                  <a:srgbClr val="10069F"/>
                </a:solidFill>
              </a:defRPr>
            </a:lvl2pPr>
            <a:lvl3pPr>
              <a:buClr>
                <a:srgbClr val="10069F"/>
              </a:buClr>
              <a:defRPr>
                <a:solidFill>
                  <a:srgbClr val="10069F"/>
                </a:solidFill>
              </a:defRPr>
            </a:lvl3pPr>
            <a:lvl4pPr>
              <a:buClr>
                <a:srgbClr val="10069F"/>
              </a:buClr>
              <a:defRPr>
                <a:solidFill>
                  <a:srgbClr val="10069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89565-DA3A-BA99-08F0-1750D1C238B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17FE683B-568B-D7E1-0CB4-727A9B026A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809069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2er  /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410E6B0-42DC-4E2F-8748-F27D5193FE77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Inhalt2">
            <a:extLst>
              <a:ext uri="{FF2B5EF4-FFF2-40B4-BE49-F238E27FC236}">
                <a16:creationId xmlns:a16="http://schemas.microsoft.com/office/drawing/2014/main" id="{A90C4970-7E53-617A-402A-1814995726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340768"/>
            <a:ext cx="5400000" cy="4609182"/>
          </a:xfrm>
        </p:spPr>
        <p:txBody>
          <a:bodyPr/>
          <a:lstStyle>
            <a:lvl1pPr>
              <a:buClr>
                <a:srgbClr val="FF3EB5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340768"/>
            <a:ext cx="5400000" cy="4609182"/>
          </a:xfrm>
        </p:spPr>
        <p:txBody>
          <a:bodyPr/>
          <a:lstStyle>
            <a:lvl1pPr>
              <a:buClr>
                <a:srgbClr val="FF3EB5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89565-DA3A-BA99-08F0-1750D1C238B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FF3E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17FE683B-568B-D7E1-0CB4-727A9B026A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6410086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2er  / Tü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FA04E8B-89A0-489B-88B3-C3E00FA273B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Inhalt2">
            <a:extLst>
              <a:ext uri="{FF2B5EF4-FFF2-40B4-BE49-F238E27FC236}">
                <a16:creationId xmlns:a16="http://schemas.microsoft.com/office/drawing/2014/main" id="{A90C4970-7E53-617A-402A-1814995726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340768"/>
            <a:ext cx="5400000" cy="4609182"/>
          </a:xfrm>
        </p:spPr>
        <p:txBody>
          <a:bodyPr/>
          <a:lstStyle>
            <a:lvl1pPr>
              <a:buClr>
                <a:srgbClr val="10ADAA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340768"/>
            <a:ext cx="5400000" cy="4609182"/>
          </a:xfrm>
        </p:spPr>
        <p:txBody>
          <a:bodyPr/>
          <a:lstStyle>
            <a:lvl1pPr>
              <a:buClr>
                <a:srgbClr val="10ADAA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89565-DA3A-BA99-08F0-1750D1C238B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10AD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17FE683B-568B-D7E1-0CB4-727A9B026A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098145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Blau/Dunkel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003" y="5781691"/>
            <a:ext cx="2735993" cy="1076178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312F6FFA-07F5-457E-9DAA-FDFBD7C0056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035847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2er  /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7E90CFF-7A61-40AD-8502-9814666FAFCD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Inhalt2">
            <a:extLst>
              <a:ext uri="{FF2B5EF4-FFF2-40B4-BE49-F238E27FC236}">
                <a16:creationId xmlns:a16="http://schemas.microsoft.com/office/drawing/2014/main" id="{A90C4970-7E53-617A-402A-1814995726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340768"/>
            <a:ext cx="5400000" cy="4609182"/>
          </a:xfrm>
        </p:spPr>
        <p:txBody>
          <a:bodyPr/>
          <a:lstStyle>
            <a:lvl1pPr>
              <a:buClr>
                <a:srgbClr val="8C3E9F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340768"/>
            <a:ext cx="5400000" cy="4609182"/>
          </a:xfrm>
        </p:spPr>
        <p:txBody>
          <a:bodyPr/>
          <a:lstStyle>
            <a:lvl1pPr>
              <a:buClr>
                <a:srgbClr val="8C3E9F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89565-DA3A-BA99-08F0-1750D1C238B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8C3E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17FE683B-568B-D7E1-0CB4-727A9B026A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926835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2er  /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EF2AF82-FA44-4A14-9475-438F4BD6A7B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Inhalt2">
            <a:extLst>
              <a:ext uri="{FF2B5EF4-FFF2-40B4-BE49-F238E27FC236}">
                <a16:creationId xmlns:a16="http://schemas.microsoft.com/office/drawing/2014/main" id="{A90C4970-7E53-617A-402A-1814995726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340768"/>
            <a:ext cx="5400000" cy="4609182"/>
          </a:xfrm>
        </p:spPr>
        <p:txBody>
          <a:bodyPr/>
          <a:lstStyle>
            <a:lvl1pPr>
              <a:buClr>
                <a:srgbClr val="FF4414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340768"/>
            <a:ext cx="5400000" cy="4609182"/>
          </a:xfrm>
        </p:spPr>
        <p:txBody>
          <a:bodyPr/>
          <a:lstStyle>
            <a:lvl1pPr>
              <a:buClr>
                <a:srgbClr val="FF4414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89565-DA3A-BA99-08F0-1750D1C238B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FF441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17FE683B-568B-D7E1-0CB4-727A9B026A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116254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2 | 2er  /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CC0EE4E-4A01-4958-A0B3-F7112E90CB5F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Inhalt2">
            <a:extLst>
              <a:ext uri="{FF2B5EF4-FFF2-40B4-BE49-F238E27FC236}">
                <a16:creationId xmlns:a16="http://schemas.microsoft.com/office/drawing/2014/main" id="{A90C4970-7E53-617A-402A-1814995726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0000" y="1340768"/>
            <a:ext cx="5400000" cy="4609182"/>
          </a:xfrm>
        </p:spPr>
        <p:txBody>
          <a:bodyPr/>
          <a:lstStyle>
            <a:lvl1pPr>
              <a:buClr>
                <a:srgbClr val="10AD00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340768"/>
            <a:ext cx="5400000" cy="4609182"/>
          </a:xfrm>
        </p:spPr>
        <p:txBody>
          <a:bodyPr/>
          <a:lstStyle>
            <a:lvl1pPr>
              <a:buClr>
                <a:srgbClr val="10AD00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89565-DA3A-BA99-08F0-1750D1C238BB}"/>
              </a:ext>
            </a:extLst>
          </p:cNvPr>
          <p:cNvSpPr/>
          <p:nvPr userDrawn="1"/>
        </p:nvSpPr>
        <p:spPr>
          <a:xfrm flipV="1">
            <a:off x="-1" y="-7512"/>
            <a:ext cx="12192001" cy="1561126"/>
          </a:xfrm>
          <a:custGeom>
            <a:avLst/>
            <a:gdLst>
              <a:gd name="connsiteX0" fmla="*/ 1 w 12192001"/>
              <a:gd name="connsiteY0" fmla="*/ 1561126 h 1561126"/>
              <a:gd name="connsiteX1" fmla="*/ 12192001 w 12192001"/>
              <a:gd name="connsiteY1" fmla="*/ 1561126 h 1561126"/>
              <a:gd name="connsiteX2" fmla="*/ 12192001 w 12192001"/>
              <a:gd name="connsiteY2" fmla="*/ 589126 h 1561126"/>
              <a:gd name="connsiteX3" fmla="*/ 540032 w 12192001"/>
              <a:gd name="connsiteY3" fmla="*/ 589126 h 1561126"/>
              <a:gd name="connsiteX4" fmla="*/ 0 w 12192001"/>
              <a:gd name="connsiteY4" fmla="*/ 0 h 1561126"/>
              <a:gd name="connsiteX5" fmla="*/ 0 w 12192001"/>
              <a:gd name="connsiteY5" fmla="*/ 648000 h 1561126"/>
              <a:gd name="connsiteX6" fmla="*/ 1 w 12192001"/>
              <a:gd name="connsiteY6" fmla="*/ 648000 h 156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1561126">
                <a:moveTo>
                  <a:pt x="1" y="1561126"/>
                </a:moveTo>
                <a:lnTo>
                  <a:pt x="12192001" y="1561126"/>
                </a:lnTo>
                <a:lnTo>
                  <a:pt x="12192001" y="589126"/>
                </a:lnTo>
                <a:lnTo>
                  <a:pt x="540032" y="589126"/>
                </a:lnTo>
                <a:lnTo>
                  <a:pt x="0" y="0"/>
                </a:lnTo>
                <a:lnTo>
                  <a:pt x="0" y="648000"/>
                </a:lnTo>
                <a:lnTo>
                  <a:pt x="1" y="648000"/>
                </a:lnTo>
                <a:close/>
              </a:path>
            </a:pathLst>
          </a:custGeom>
          <a:solidFill>
            <a:srgbClr val="10A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17FE683B-568B-D7E1-0CB4-727A9B026A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8000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9187548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Bild |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A86E04B-8A93-4D6D-BF32-5E3A43FDD41A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6" name="Bild-Platzhalter">
            <a:extLst>
              <a:ext uri="{FF2B5EF4-FFF2-40B4-BE49-F238E27FC236}">
                <a16:creationId xmlns:a16="http://schemas.microsoft.com/office/drawing/2014/main" id="{A8AABF05-7387-7834-E8E9-BB872CFE07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00000" y="1206000"/>
            <a:ext cx="5400000" cy="4762633"/>
          </a:xfrm>
          <a:custGeom>
            <a:avLst/>
            <a:gdLst>
              <a:gd name="connsiteX0" fmla="*/ 0 w 5400000"/>
              <a:gd name="connsiteY0" fmla="*/ 0 h 4752000"/>
              <a:gd name="connsiteX1" fmla="*/ 5400000 w 5400000"/>
              <a:gd name="connsiteY1" fmla="*/ 0 h 4752000"/>
              <a:gd name="connsiteX2" fmla="*/ 5400000 w 5400000"/>
              <a:gd name="connsiteY2" fmla="*/ 3835320 h 4752000"/>
              <a:gd name="connsiteX3" fmla="*/ 3816000 w 5400000"/>
              <a:gd name="connsiteY3" fmla="*/ 4752000 h 4752000"/>
              <a:gd name="connsiteX4" fmla="*/ 0 w 5400000"/>
              <a:gd name="connsiteY4" fmla="*/ 4752000 h 4752000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835320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994808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000" h="4762633">
                <a:moveTo>
                  <a:pt x="0" y="0"/>
                </a:moveTo>
                <a:lnTo>
                  <a:pt x="5400000" y="0"/>
                </a:lnTo>
                <a:lnTo>
                  <a:pt x="5400000" y="3994808"/>
                </a:lnTo>
                <a:lnTo>
                  <a:pt x="4007386" y="4762633"/>
                </a:lnTo>
                <a:lnTo>
                  <a:pt x="0" y="4752000"/>
                </a:lnTo>
                <a:lnTo>
                  <a:pt x="0" y="0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bIns="828000" anchor="ctr" anchorCtr="1">
            <a:noAutofit/>
          </a:bodyPr>
          <a:lstStyle>
            <a:lvl1pPr marL="0" indent="0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3811A218-E43E-12EA-D140-A87C5FDF63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21355" y="5733256"/>
            <a:ext cx="396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5400000" cy="4752975"/>
          </a:xfrm>
          <a:solidFill>
            <a:srgbClr val="10065A"/>
          </a:solidFill>
        </p:spPr>
        <p:txBody>
          <a:bodyPr lIns="108000" tIns="108000" rIns="72000" bIns="72000"/>
          <a:lstStyle>
            <a:lvl1pPr>
              <a:buClr>
                <a:srgbClr val="10ADAA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626403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Bild | Blaugrau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780A035-BC81-4A55-A4A8-26D3968EB50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6" name="Bild-Platzhalter">
            <a:extLst>
              <a:ext uri="{FF2B5EF4-FFF2-40B4-BE49-F238E27FC236}">
                <a16:creationId xmlns:a16="http://schemas.microsoft.com/office/drawing/2014/main" id="{A8AABF05-7387-7834-E8E9-BB872CFE07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00000" y="1206000"/>
            <a:ext cx="5400000" cy="4762633"/>
          </a:xfrm>
          <a:custGeom>
            <a:avLst/>
            <a:gdLst>
              <a:gd name="connsiteX0" fmla="*/ 0 w 5400000"/>
              <a:gd name="connsiteY0" fmla="*/ 0 h 4752000"/>
              <a:gd name="connsiteX1" fmla="*/ 5400000 w 5400000"/>
              <a:gd name="connsiteY1" fmla="*/ 0 h 4752000"/>
              <a:gd name="connsiteX2" fmla="*/ 5400000 w 5400000"/>
              <a:gd name="connsiteY2" fmla="*/ 3835320 h 4752000"/>
              <a:gd name="connsiteX3" fmla="*/ 3816000 w 5400000"/>
              <a:gd name="connsiteY3" fmla="*/ 4752000 h 4752000"/>
              <a:gd name="connsiteX4" fmla="*/ 0 w 5400000"/>
              <a:gd name="connsiteY4" fmla="*/ 4752000 h 4752000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835320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994808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000" h="4762633">
                <a:moveTo>
                  <a:pt x="0" y="0"/>
                </a:moveTo>
                <a:lnTo>
                  <a:pt x="5400000" y="0"/>
                </a:lnTo>
                <a:lnTo>
                  <a:pt x="5400000" y="3994808"/>
                </a:lnTo>
                <a:lnTo>
                  <a:pt x="4007386" y="4762633"/>
                </a:lnTo>
                <a:lnTo>
                  <a:pt x="0" y="4752000"/>
                </a:lnTo>
                <a:lnTo>
                  <a:pt x="0" y="0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bIns="828000" anchor="ctr" anchorCtr="1">
            <a:noAutofit/>
          </a:bodyPr>
          <a:lstStyle>
            <a:lvl1pPr marL="0" indent="0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BA7A7A0E-2DF6-3A87-6C4C-51E01F109E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21355" y="5733256"/>
            <a:ext cx="396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5400000" cy="4752975"/>
          </a:xfrm>
          <a:solidFill>
            <a:schemeClr val="bg2"/>
          </a:solidFill>
        </p:spPr>
        <p:txBody>
          <a:bodyPr lIns="108000" tIns="108000" rIns="72000" bIns="72000"/>
          <a:lstStyle>
            <a:lvl1pPr>
              <a:buClr>
                <a:srgbClr val="10ADAA"/>
              </a:buClr>
              <a:defRPr>
                <a:solidFill>
                  <a:srgbClr val="10065A"/>
                </a:solidFill>
              </a:defRPr>
            </a:lvl1pPr>
            <a:lvl2pPr>
              <a:buClr>
                <a:srgbClr val="10065A"/>
              </a:buClr>
              <a:defRPr>
                <a:solidFill>
                  <a:srgbClr val="10065A"/>
                </a:solidFill>
              </a:defRPr>
            </a:lvl2pPr>
            <a:lvl3pPr>
              <a:buClr>
                <a:srgbClr val="10065A"/>
              </a:buClr>
              <a:defRPr>
                <a:solidFill>
                  <a:srgbClr val="10065A"/>
                </a:solidFill>
              </a:defRPr>
            </a:lvl3pPr>
            <a:lvl4pPr>
              <a:buClr>
                <a:srgbClr val="10065A"/>
              </a:buClr>
              <a:defRPr>
                <a:solidFill>
                  <a:srgbClr val="10065A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593699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Bild |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C22AB68-27E5-47A0-96F6-87AEF3D4BB2D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6" name="Bild-Platzhalter">
            <a:extLst>
              <a:ext uri="{FF2B5EF4-FFF2-40B4-BE49-F238E27FC236}">
                <a16:creationId xmlns:a16="http://schemas.microsoft.com/office/drawing/2014/main" id="{A8AABF05-7387-7834-E8E9-BB872CFE07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00000" y="1206000"/>
            <a:ext cx="5400000" cy="4762633"/>
          </a:xfrm>
          <a:custGeom>
            <a:avLst/>
            <a:gdLst>
              <a:gd name="connsiteX0" fmla="*/ 0 w 5400000"/>
              <a:gd name="connsiteY0" fmla="*/ 0 h 4752000"/>
              <a:gd name="connsiteX1" fmla="*/ 5400000 w 5400000"/>
              <a:gd name="connsiteY1" fmla="*/ 0 h 4752000"/>
              <a:gd name="connsiteX2" fmla="*/ 5400000 w 5400000"/>
              <a:gd name="connsiteY2" fmla="*/ 3835320 h 4752000"/>
              <a:gd name="connsiteX3" fmla="*/ 3816000 w 5400000"/>
              <a:gd name="connsiteY3" fmla="*/ 4752000 h 4752000"/>
              <a:gd name="connsiteX4" fmla="*/ 0 w 5400000"/>
              <a:gd name="connsiteY4" fmla="*/ 4752000 h 4752000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835320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994808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000" h="4762633">
                <a:moveTo>
                  <a:pt x="0" y="0"/>
                </a:moveTo>
                <a:lnTo>
                  <a:pt x="5400000" y="0"/>
                </a:lnTo>
                <a:lnTo>
                  <a:pt x="5400000" y="3994808"/>
                </a:lnTo>
                <a:lnTo>
                  <a:pt x="4007386" y="4762633"/>
                </a:lnTo>
                <a:lnTo>
                  <a:pt x="0" y="4752000"/>
                </a:lnTo>
                <a:lnTo>
                  <a:pt x="0" y="0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bIns="828000" anchor="ctr" anchorCtr="1">
            <a:noAutofit/>
          </a:bodyPr>
          <a:lstStyle>
            <a:lvl1pPr marL="0" indent="0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3247E0E0-6307-0F54-03DE-6CB5BD2D31D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21355" y="5733256"/>
            <a:ext cx="396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5400000" cy="4752975"/>
          </a:xfrm>
          <a:solidFill>
            <a:srgbClr val="10069F"/>
          </a:solidFill>
        </p:spPr>
        <p:txBody>
          <a:bodyPr lIns="108000" tIns="108000" rIns="72000" bIns="72000"/>
          <a:lstStyle>
            <a:lvl1pPr>
              <a:buClr>
                <a:srgbClr val="FF3EB5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516665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Bild | Blaugrau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77D79DF-C3B0-4923-BB2C-485465A428E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6" name="Bild-Platzhalter">
            <a:extLst>
              <a:ext uri="{FF2B5EF4-FFF2-40B4-BE49-F238E27FC236}">
                <a16:creationId xmlns:a16="http://schemas.microsoft.com/office/drawing/2014/main" id="{A8AABF05-7387-7834-E8E9-BB872CFE07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00000" y="1206000"/>
            <a:ext cx="5400000" cy="4762633"/>
          </a:xfrm>
          <a:custGeom>
            <a:avLst/>
            <a:gdLst>
              <a:gd name="connsiteX0" fmla="*/ 0 w 5400000"/>
              <a:gd name="connsiteY0" fmla="*/ 0 h 4752000"/>
              <a:gd name="connsiteX1" fmla="*/ 5400000 w 5400000"/>
              <a:gd name="connsiteY1" fmla="*/ 0 h 4752000"/>
              <a:gd name="connsiteX2" fmla="*/ 5400000 w 5400000"/>
              <a:gd name="connsiteY2" fmla="*/ 3835320 h 4752000"/>
              <a:gd name="connsiteX3" fmla="*/ 3816000 w 5400000"/>
              <a:gd name="connsiteY3" fmla="*/ 4752000 h 4752000"/>
              <a:gd name="connsiteX4" fmla="*/ 0 w 5400000"/>
              <a:gd name="connsiteY4" fmla="*/ 4752000 h 4752000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835320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994808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000" h="4762633">
                <a:moveTo>
                  <a:pt x="0" y="0"/>
                </a:moveTo>
                <a:lnTo>
                  <a:pt x="5400000" y="0"/>
                </a:lnTo>
                <a:lnTo>
                  <a:pt x="5400000" y="3994808"/>
                </a:lnTo>
                <a:lnTo>
                  <a:pt x="4007386" y="4762633"/>
                </a:lnTo>
                <a:lnTo>
                  <a:pt x="0" y="4752000"/>
                </a:lnTo>
                <a:lnTo>
                  <a:pt x="0" y="0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bIns="828000" anchor="ctr" anchorCtr="1">
            <a:noAutofit/>
          </a:bodyPr>
          <a:lstStyle>
            <a:lvl1pPr marL="0" indent="0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C33CCE12-9533-A4A5-CB2A-6D8C7A0D4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21355" y="5733256"/>
            <a:ext cx="396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5400000" cy="4752975"/>
          </a:xfrm>
          <a:solidFill>
            <a:schemeClr val="bg2"/>
          </a:solidFill>
        </p:spPr>
        <p:txBody>
          <a:bodyPr lIns="108000" tIns="108000" rIns="72000" bIns="72000"/>
          <a:lstStyle>
            <a:lvl1pPr>
              <a:buClr>
                <a:srgbClr val="FF3EB5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10069F"/>
              </a:buClr>
              <a:defRPr>
                <a:solidFill>
                  <a:srgbClr val="10069F"/>
                </a:solidFill>
              </a:defRPr>
            </a:lvl2pPr>
            <a:lvl3pPr>
              <a:buClr>
                <a:srgbClr val="10069F"/>
              </a:buClr>
              <a:defRPr>
                <a:solidFill>
                  <a:srgbClr val="10069F"/>
                </a:solidFill>
              </a:defRPr>
            </a:lvl3pPr>
            <a:lvl4pPr>
              <a:buClr>
                <a:srgbClr val="10069F"/>
              </a:buClr>
              <a:defRPr>
                <a:solidFill>
                  <a:srgbClr val="10069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615407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Bild |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7BE3889-F7D5-44DB-B30C-E84C63200FD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6" name="Bild-Platzhalter">
            <a:extLst>
              <a:ext uri="{FF2B5EF4-FFF2-40B4-BE49-F238E27FC236}">
                <a16:creationId xmlns:a16="http://schemas.microsoft.com/office/drawing/2014/main" id="{A8AABF05-7387-7834-E8E9-BB872CFE07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00000" y="1206000"/>
            <a:ext cx="5400000" cy="4762633"/>
          </a:xfrm>
          <a:custGeom>
            <a:avLst/>
            <a:gdLst>
              <a:gd name="connsiteX0" fmla="*/ 0 w 5400000"/>
              <a:gd name="connsiteY0" fmla="*/ 0 h 4752000"/>
              <a:gd name="connsiteX1" fmla="*/ 5400000 w 5400000"/>
              <a:gd name="connsiteY1" fmla="*/ 0 h 4752000"/>
              <a:gd name="connsiteX2" fmla="*/ 5400000 w 5400000"/>
              <a:gd name="connsiteY2" fmla="*/ 3835320 h 4752000"/>
              <a:gd name="connsiteX3" fmla="*/ 3816000 w 5400000"/>
              <a:gd name="connsiteY3" fmla="*/ 4752000 h 4752000"/>
              <a:gd name="connsiteX4" fmla="*/ 0 w 5400000"/>
              <a:gd name="connsiteY4" fmla="*/ 4752000 h 4752000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835320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994808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000" h="4762633">
                <a:moveTo>
                  <a:pt x="0" y="0"/>
                </a:moveTo>
                <a:lnTo>
                  <a:pt x="5400000" y="0"/>
                </a:lnTo>
                <a:lnTo>
                  <a:pt x="5400000" y="3994808"/>
                </a:lnTo>
                <a:lnTo>
                  <a:pt x="4007386" y="4762633"/>
                </a:lnTo>
                <a:lnTo>
                  <a:pt x="0" y="4752000"/>
                </a:lnTo>
                <a:lnTo>
                  <a:pt x="0" y="0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bIns="828000" anchor="ctr" anchorCtr="1">
            <a:noAutofit/>
          </a:bodyPr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E8D359DE-4629-634E-DBE9-D9E9E002AE5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21355" y="5733256"/>
            <a:ext cx="396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5400000" cy="4752975"/>
          </a:xfrm>
          <a:solidFill>
            <a:srgbClr val="FF3EB5"/>
          </a:solidFill>
        </p:spPr>
        <p:txBody>
          <a:bodyPr lIns="108000" tIns="108000" rIns="72000" bIns="72000"/>
          <a:lstStyle>
            <a:lvl1pPr>
              <a:buClr>
                <a:srgbClr val="10065A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494204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Bild | Tü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0639AF7-856F-4465-A8D8-39BF20BA61F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6" name="Bild-Platzhalter">
            <a:extLst>
              <a:ext uri="{FF2B5EF4-FFF2-40B4-BE49-F238E27FC236}">
                <a16:creationId xmlns:a16="http://schemas.microsoft.com/office/drawing/2014/main" id="{A8AABF05-7387-7834-E8E9-BB872CFE07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00000" y="1206000"/>
            <a:ext cx="5400000" cy="4762633"/>
          </a:xfrm>
          <a:custGeom>
            <a:avLst/>
            <a:gdLst>
              <a:gd name="connsiteX0" fmla="*/ 0 w 5400000"/>
              <a:gd name="connsiteY0" fmla="*/ 0 h 4752000"/>
              <a:gd name="connsiteX1" fmla="*/ 5400000 w 5400000"/>
              <a:gd name="connsiteY1" fmla="*/ 0 h 4752000"/>
              <a:gd name="connsiteX2" fmla="*/ 5400000 w 5400000"/>
              <a:gd name="connsiteY2" fmla="*/ 3835320 h 4752000"/>
              <a:gd name="connsiteX3" fmla="*/ 3816000 w 5400000"/>
              <a:gd name="connsiteY3" fmla="*/ 4752000 h 4752000"/>
              <a:gd name="connsiteX4" fmla="*/ 0 w 5400000"/>
              <a:gd name="connsiteY4" fmla="*/ 4752000 h 4752000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835320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994808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000" h="4762633">
                <a:moveTo>
                  <a:pt x="0" y="0"/>
                </a:moveTo>
                <a:lnTo>
                  <a:pt x="5400000" y="0"/>
                </a:lnTo>
                <a:lnTo>
                  <a:pt x="5400000" y="3994808"/>
                </a:lnTo>
                <a:lnTo>
                  <a:pt x="4007386" y="4762633"/>
                </a:lnTo>
                <a:lnTo>
                  <a:pt x="0" y="4752000"/>
                </a:lnTo>
                <a:lnTo>
                  <a:pt x="0" y="0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bIns="828000" anchor="ctr" anchorCtr="1">
            <a:noAutofit/>
          </a:bodyPr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1BEDDC17-19F6-563A-524C-88BDE6E8DC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21355" y="5733256"/>
            <a:ext cx="396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5400000" cy="4752975"/>
          </a:xfrm>
          <a:solidFill>
            <a:srgbClr val="10ADAA"/>
          </a:solidFill>
        </p:spPr>
        <p:txBody>
          <a:bodyPr lIns="108000" tIns="108000" rIns="72000" bIns="72000"/>
          <a:lstStyle>
            <a:lvl1pPr>
              <a:buClr>
                <a:srgbClr val="10065A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022072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Bild |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B2C6FB9-8AC3-4A35-92D8-2E2115F5B8C6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6" name="Bild-Platzhalter">
            <a:extLst>
              <a:ext uri="{FF2B5EF4-FFF2-40B4-BE49-F238E27FC236}">
                <a16:creationId xmlns:a16="http://schemas.microsoft.com/office/drawing/2014/main" id="{A8AABF05-7387-7834-E8E9-BB872CFE07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00000" y="1206000"/>
            <a:ext cx="5400000" cy="4762633"/>
          </a:xfrm>
          <a:custGeom>
            <a:avLst/>
            <a:gdLst>
              <a:gd name="connsiteX0" fmla="*/ 0 w 5400000"/>
              <a:gd name="connsiteY0" fmla="*/ 0 h 4752000"/>
              <a:gd name="connsiteX1" fmla="*/ 5400000 w 5400000"/>
              <a:gd name="connsiteY1" fmla="*/ 0 h 4752000"/>
              <a:gd name="connsiteX2" fmla="*/ 5400000 w 5400000"/>
              <a:gd name="connsiteY2" fmla="*/ 3835320 h 4752000"/>
              <a:gd name="connsiteX3" fmla="*/ 3816000 w 5400000"/>
              <a:gd name="connsiteY3" fmla="*/ 4752000 h 4752000"/>
              <a:gd name="connsiteX4" fmla="*/ 0 w 5400000"/>
              <a:gd name="connsiteY4" fmla="*/ 4752000 h 4752000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835320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994808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000" h="4762633">
                <a:moveTo>
                  <a:pt x="0" y="0"/>
                </a:moveTo>
                <a:lnTo>
                  <a:pt x="5400000" y="0"/>
                </a:lnTo>
                <a:lnTo>
                  <a:pt x="5400000" y="3994808"/>
                </a:lnTo>
                <a:lnTo>
                  <a:pt x="4007386" y="4762633"/>
                </a:lnTo>
                <a:lnTo>
                  <a:pt x="0" y="4752000"/>
                </a:lnTo>
                <a:lnTo>
                  <a:pt x="0" y="0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bIns="828000" anchor="ctr" anchorCtr="1">
            <a:noAutofit/>
          </a:bodyPr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6F27145E-26D5-3797-4C57-696418405BC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21355" y="5733256"/>
            <a:ext cx="396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5400000" cy="4752975"/>
          </a:xfrm>
          <a:solidFill>
            <a:srgbClr val="8C3E9F"/>
          </a:solidFill>
        </p:spPr>
        <p:txBody>
          <a:bodyPr lIns="108000" tIns="108000" rIns="72000" bIns="72000"/>
          <a:lstStyle>
            <a:lvl1pPr>
              <a:buClr>
                <a:srgbClr val="10AD00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022307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Dunkelblau/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003" y="5781691"/>
            <a:ext cx="2735993" cy="1076178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9589A42B-2A08-4E94-8978-B1D7200F72F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211022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Bild |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5FE1464-FD3B-4A76-8743-D8F0B99F7F61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6" name="Bild-Platzhalter">
            <a:extLst>
              <a:ext uri="{FF2B5EF4-FFF2-40B4-BE49-F238E27FC236}">
                <a16:creationId xmlns:a16="http://schemas.microsoft.com/office/drawing/2014/main" id="{A8AABF05-7387-7834-E8E9-BB872CFE07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00000" y="1206000"/>
            <a:ext cx="5400000" cy="4762633"/>
          </a:xfrm>
          <a:custGeom>
            <a:avLst/>
            <a:gdLst>
              <a:gd name="connsiteX0" fmla="*/ 0 w 5400000"/>
              <a:gd name="connsiteY0" fmla="*/ 0 h 4752000"/>
              <a:gd name="connsiteX1" fmla="*/ 5400000 w 5400000"/>
              <a:gd name="connsiteY1" fmla="*/ 0 h 4752000"/>
              <a:gd name="connsiteX2" fmla="*/ 5400000 w 5400000"/>
              <a:gd name="connsiteY2" fmla="*/ 3835320 h 4752000"/>
              <a:gd name="connsiteX3" fmla="*/ 3816000 w 5400000"/>
              <a:gd name="connsiteY3" fmla="*/ 4752000 h 4752000"/>
              <a:gd name="connsiteX4" fmla="*/ 0 w 5400000"/>
              <a:gd name="connsiteY4" fmla="*/ 4752000 h 4752000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835320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994808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000" h="4762633">
                <a:moveTo>
                  <a:pt x="0" y="0"/>
                </a:moveTo>
                <a:lnTo>
                  <a:pt x="5400000" y="0"/>
                </a:lnTo>
                <a:lnTo>
                  <a:pt x="5400000" y="3994808"/>
                </a:lnTo>
                <a:lnTo>
                  <a:pt x="4007386" y="4762633"/>
                </a:lnTo>
                <a:lnTo>
                  <a:pt x="0" y="4752000"/>
                </a:lnTo>
                <a:lnTo>
                  <a:pt x="0" y="0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bIns="828000" anchor="ctr" anchorCtr="1">
            <a:noAutofit/>
          </a:bodyPr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789A7369-10F6-700D-EE1E-65513123B43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21355" y="5733256"/>
            <a:ext cx="396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5400000" cy="4752975"/>
          </a:xfrm>
          <a:solidFill>
            <a:srgbClr val="FF4414"/>
          </a:solidFill>
        </p:spPr>
        <p:txBody>
          <a:bodyPr lIns="108000" tIns="108000" rIns="72000" bIns="72000"/>
          <a:lstStyle>
            <a:lvl1pPr>
              <a:buClr>
                <a:srgbClr val="10065A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168830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Bild |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B026DC2-D1BF-4ECD-B3C4-87D255AAAFEF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6" name="Bild-Platzhalter">
            <a:extLst>
              <a:ext uri="{FF2B5EF4-FFF2-40B4-BE49-F238E27FC236}">
                <a16:creationId xmlns:a16="http://schemas.microsoft.com/office/drawing/2014/main" id="{A8AABF05-7387-7834-E8E9-BB872CFE07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00000" y="1206000"/>
            <a:ext cx="5400000" cy="4762633"/>
          </a:xfrm>
          <a:custGeom>
            <a:avLst/>
            <a:gdLst>
              <a:gd name="connsiteX0" fmla="*/ 0 w 5400000"/>
              <a:gd name="connsiteY0" fmla="*/ 0 h 4752000"/>
              <a:gd name="connsiteX1" fmla="*/ 5400000 w 5400000"/>
              <a:gd name="connsiteY1" fmla="*/ 0 h 4752000"/>
              <a:gd name="connsiteX2" fmla="*/ 5400000 w 5400000"/>
              <a:gd name="connsiteY2" fmla="*/ 3835320 h 4752000"/>
              <a:gd name="connsiteX3" fmla="*/ 3816000 w 5400000"/>
              <a:gd name="connsiteY3" fmla="*/ 4752000 h 4752000"/>
              <a:gd name="connsiteX4" fmla="*/ 0 w 5400000"/>
              <a:gd name="connsiteY4" fmla="*/ 4752000 h 4752000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835320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  <a:gd name="connsiteX0" fmla="*/ 0 w 5400000"/>
              <a:gd name="connsiteY0" fmla="*/ 0 h 4762633"/>
              <a:gd name="connsiteX1" fmla="*/ 5400000 w 5400000"/>
              <a:gd name="connsiteY1" fmla="*/ 0 h 4762633"/>
              <a:gd name="connsiteX2" fmla="*/ 5400000 w 5400000"/>
              <a:gd name="connsiteY2" fmla="*/ 3994808 h 4762633"/>
              <a:gd name="connsiteX3" fmla="*/ 4007386 w 5400000"/>
              <a:gd name="connsiteY3" fmla="*/ 4762633 h 4762633"/>
              <a:gd name="connsiteX4" fmla="*/ 0 w 5400000"/>
              <a:gd name="connsiteY4" fmla="*/ 4752000 h 4762633"/>
              <a:gd name="connsiteX5" fmla="*/ 0 w 5400000"/>
              <a:gd name="connsiteY5" fmla="*/ 0 h 4762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000" h="4762633">
                <a:moveTo>
                  <a:pt x="0" y="0"/>
                </a:moveTo>
                <a:lnTo>
                  <a:pt x="5400000" y="0"/>
                </a:lnTo>
                <a:lnTo>
                  <a:pt x="5400000" y="3994808"/>
                </a:lnTo>
                <a:lnTo>
                  <a:pt x="4007386" y="4762633"/>
                </a:lnTo>
                <a:lnTo>
                  <a:pt x="0" y="4752000"/>
                </a:lnTo>
                <a:lnTo>
                  <a:pt x="0" y="0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bIns="828000" anchor="ctr" anchorCtr="1">
            <a:noAutofit/>
          </a:bodyPr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1CEFA435-4DB2-6254-5C50-2C9C897531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21355" y="5733256"/>
            <a:ext cx="396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5400000" cy="4752975"/>
          </a:xfrm>
          <a:solidFill>
            <a:srgbClr val="10AD00"/>
          </a:solidFill>
        </p:spPr>
        <p:txBody>
          <a:bodyPr lIns="108000" tIns="108000" rIns="72000" bIns="72000"/>
          <a:lstStyle>
            <a:lvl1pPr>
              <a:buClr>
                <a:srgbClr val="10065A"/>
              </a:buClr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0135799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Infobox |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524A238-05C9-A3C0-64DB-9F5F7412F9D6}"/>
              </a:ext>
            </a:extLst>
          </p:cNvPr>
          <p:cNvGrpSpPr/>
          <p:nvPr userDrawn="1"/>
        </p:nvGrpSpPr>
        <p:grpSpPr>
          <a:xfrm>
            <a:off x="8008290" y="1208596"/>
            <a:ext cx="3707760" cy="4596667"/>
            <a:chOff x="8008290" y="1208596"/>
            <a:chExt cx="3707760" cy="4596667"/>
          </a:xfrm>
          <a:solidFill>
            <a:srgbClr val="10065A"/>
          </a:solidFill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73B1ACC-B614-326A-1F1E-5491E17F0725}"/>
                </a:ext>
              </a:extLst>
            </p:cNvPr>
            <p:cNvSpPr/>
            <p:nvPr userDrawn="1"/>
          </p:nvSpPr>
          <p:spPr>
            <a:xfrm>
              <a:off x="8008290" y="1497980"/>
              <a:ext cx="3707760" cy="4307283"/>
            </a:xfrm>
            <a:custGeom>
              <a:avLst/>
              <a:gdLst>
                <a:gd name="connsiteX0" fmla="*/ 0 w 3707760"/>
                <a:gd name="connsiteY0" fmla="*/ 0 h 4307283"/>
                <a:gd name="connsiteX1" fmla="*/ 1513555 w 3707760"/>
                <a:gd name="connsiteY1" fmla="*/ 0 h 4307283"/>
                <a:gd name="connsiteX2" fmla="*/ 1511880 w 3707760"/>
                <a:gd name="connsiteY2" fmla="*/ 16616 h 4307283"/>
                <a:gd name="connsiteX3" fmla="*/ 1853880 w 3707760"/>
                <a:gd name="connsiteY3" fmla="*/ 358616 h 4307283"/>
                <a:gd name="connsiteX4" fmla="*/ 2195880 w 3707760"/>
                <a:gd name="connsiteY4" fmla="*/ 16616 h 4307283"/>
                <a:gd name="connsiteX5" fmla="*/ 2194205 w 3707760"/>
                <a:gd name="connsiteY5" fmla="*/ 0 h 4307283"/>
                <a:gd name="connsiteX6" fmla="*/ 3707760 w 3707760"/>
                <a:gd name="connsiteY6" fmla="*/ 0 h 4307283"/>
                <a:gd name="connsiteX7" fmla="*/ 3707760 w 3707760"/>
                <a:gd name="connsiteY7" fmla="*/ 3845433 h 4307283"/>
                <a:gd name="connsiteX8" fmla="*/ 2957253 w 3707760"/>
                <a:gd name="connsiteY8" fmla="*/ 4307283 h 4307283"/>
                <a:gd name="connsiteX9" fmla="*/ 0 w 3707760"/>
                <a:gd name="connsiteY9" fmla="*/ 4307283 h 430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07760" h="4307283">
                  <a:moveTo>
                    <a:pt x="0" y="0"/>
                  </a:moveTo>
                  <a:lnTo>
                    <a:pt x="1513555" y="0"/>
                  </a:lnTo>
                  <a:lnTo>
                    <a:pt x="1511880" y="16616"/>
                  </a:lnTo>
                  <a:cubicBezTo>
                    <a:pt x="1511880" y="205497"/>
                    <a:pt x="1664999" y="358616"/>
                    <a:pt x="1853880" y="358616"/>
                  </a:cubicBezTo>
                  <a:cubicBezTo>
                    <a:pt x="2042761" y="358616"/>
                    <a:pt x="2195880" y="205497"/>
                    <a:pt x="2195880" y="16616"/>
                  </a:cubicBezTo>
                  <a:lnTo>
                    <a:pt x="2194205" y="0"/>
                  </a:lnTo>
                  <a:lnTo>
                    <a:pt x="3707760" y="0"/>
                  </a:lnTo>
                  <a:lnTo>
                    <a:pt x="3707760" y="3845433"/>
                  </a:lnTo>
                  <a:lnTo>
                    <a:pt x="2957253" y="4307283"/>
                  </a:lnTo>
                  <a:lnTo>
                    <a:pt x="0" y="430728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47607513-7FCB-C0F0-FF3F-EA30E1044E66}"/>
                </a:ext>
              </a:extLst>
            </p:cNvPr>
            <p:cNvSpPr>
              <a:spLocks/>
            </p:cNvSpPr>
            <p:nvPr userDrawn="1"/>
          </p:nvSpPr>
          <p:spPr>
            <a:xfrm>
              <a:off x="9556170" y="1208596"/>
              <a:ext cx="612000" cy="61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3EB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5400" b="1" dirty="0">
                  <a:solidFill>
                    <a:srgbClr val="FF3EB5"/>
                  </a:solidFill>
                  <a:latin typeface="Montserrat Black" panose="00000A00000000000000" pitchFamily="50" charset="0"/>
                  <a:sym typeface="Symbol" panose="05050102010706020507" pitchFamily="18" charset="2"/>
                </a:rPr>
                <a:t></a:t>
              </a:r>
              <a:endParaRPr lang="de-DE" sz="5400" b="1" dirty="0">
                <a:solidFill>
                  <a:srgbClr val="FF3EB5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20E6326-CAF4-40BD-AA1C-552CEC81109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2">
            <a:extLst>
              <a:ext uri="{FF2B5EF4-FFF2-40B4-BE49-F238E27FC236}">
                <a16:creationId xmlns:a16="http://schemas.microsoft.com/office/drawing/2014/main" id="{E708C7A5-106D-DC0A-1DF2-A5E4E32FE5A1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256240" y="2702104"/>
            <a:ext cx="3330974" cy="281512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30000"/>
              </a:lnSpc>
              <a:spcBef>
                <a:spcPts val="0"/>
              </a:spcBef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287338" indent="0"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2pPr>
            <a:lvl3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3pPr>
            <a:lvl4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4pPr>
            <a:lvl5pPr>
              <a:defRPr sz="2800"/>
            </a:lvl5pPr>
          </a:lstStyle>
          <a:p>
            <a:pPr lvl="0"/>
            <a:r>
              <a:rPr lang="de-DE" dirty="0"/>
              <a:t>Infobox-Fließtext….</a:t>
            </a:r>
          </a:p>
        </p:txBody>
      </p:sp>
      <p:sp>
        <p:nvSpPr>
          <p:cNvPr id="11" name="Titel2">
            <a:extLst>
              <a:ext uri="{FF2B5EF4-FFF2-40B4-BE49-F238E27FC236}">
                <a16:creationId xmlns:a16="http://schemas.microsoft.com/office/drawing/2014/main" id="{312FA90C-2176-5812-71BE-91A24306D166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8256240" y="2154438"/>
            <a:ext cx="3330974" cy="504000"/>
          </a:xfrm>
        </p:spPr>
        <p:txBody>
          <a:bodyPr vert="horz" wrap="square" lIns="0" tIns="36000" rIns="0" bIns="36000" rtlCol="0">
            <a:noAutofit/>
          </a:bodyPr>
          <a:lstStyle>
            <a:lvl1pPr marL="0" indent="0" algn="l">
              <a:buNone/>
              <a:defRPr lang="de-DE" sz="2000" b="1" cap="all" baseline="0" dirty="0">
                <a:solidFill>
                  <a:srgbClr val="10ADAA"/>
                </a:solidFill>
                <a:latin typeface="Montserrat Black" panose="00000A00000000000000" pitchFamily="50" charset="0"/>
              </a:defRPr>
            </a:lvl1pPr>
          </a:lstStyle>
          <a:p>
            <a:pPr marL="342900" lvl="0" indent="-342900"/>
            <a:r>
              <a:rPr lang="de-DE" dirty="0"/>
              <a:t>Infobox-Titel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7200000" cy="4752975"/>
          </a:xfrm>
        </p:spPr>
        <p:txBody>
          <a:bodyPr/>
          <a:lstStyle>
            <a:lvl1pPr>
              <a:buClr>
                <a:srgbClr val="10ADAA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486964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Infobox |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524A238-05C9-A3C0-64DB-9F5F7412F9D6}"/>
              </a:ext>
            </a:extLst>
          </p:cNvPr>
          <p:cNvGrpSpPr/>
          <p:nvPr userDrawn="1"/>
        </p:nvGrpSpPr>
        <p:grpSpPr>
          <a:xfrm>
            <a:off x="8008290" y="1208596"/>
            <a:ext cx="3707760" cy="4596667"/>
            <a:chOff x="8008290" y="1208596"/>
            <a:chExt cx="3707760" cy="4596667"/>
          </a:xfrm>
          <a:solidFill>
            <a:srgbClr val="10065A"/>
          </a:solidFill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73B1ACC-B614-326A-1F1E-5491E17F0725}"/>
                </a:ext>
              </a:extLst>
            </p:cNvPr>
            <p:cNvSpPr/>
            <p:nvPr userDrawn="1"/>
          </p:nvSpPr>
          <p:spPr>
            <a:xfrm>
              <a:off x="8008290" y="1497980"/>
              <a:ext cx="3707760" cy="4307283"/>
            </a:xfrm>
            <a:custGeom>
              <a:avLst/>
              <a:gdLst>
                <a:gd name="connsiteX0" fmla="*/ 0 w 3707760"/>
                <a:gd name="connsiteY0" fmla="*/ 0 h 4307283"/>
                <a:gd name="connsiteX1" fmla="*/ 1513555 w 3707760"/>
                <a:gd name="connsiteY1" fmla="*/ 0 h 4307283"/>
                <a:gd name="connsiteX2" fmla="*/ 1511880 w 3707760"/>
                <a:gd name="connsiteY2" fmla="*/ 16616 h 4307283"/>
                <a:gd name="connsiteX3" fmla="*/ 1853880 w 3707760"/>
                <a:gd name="connsiteY3" fmla="*/ 358616 h 4307283"/>
                <a:gd name="connsiteX4" fmla="*/ 2195880 w 3707760"/>
                <a:gd name="connsiteY4" fmla="*/ 16616 h 4307283"/>
                <a:gd name="connsiteX5" fmla="*/ 2194205 w 3707760"/>
                <a:gd name="connsiteY5" fmla="*/ 0 h 4307283"/>
                <a:gd name="connsiteX6" fmla="*/ 3707760 w 3707760"/>
                <a:gd name="connsiteY6" fmla="*/ 0 h 4307283"/>
                <a:gd name="connsiteX7" fmla="*/ 3707760 w 3707760"/>
                <a:gd name="connsiteY7" fmla="*/ 3845433 h 4307283"/>
                <a:gd name="connsiteX8" fmla="*/ 2957253 w 3707760"/>
                <a:gd name="connsiteY8" fmla="*/ 4307283 h 4307283"/>
                <a:gd name="connsiteX9" fmla="*/ 0 w 3707760"/>
                <a:gd name="connsiteY9" fmla="*/ 4307283 h 430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07760" h="4307283">
                  <a:moveTo>
                    <a:pt x="0" y="0"/>
                  </a:moveTo>
                  <a:lnTo>
                    <a:pt x="1513555" y="0"/>
                  </a:lnTo>
                  <a:lnTo>
                    <a:pt x="1511880" y="16616"/>
                  </a:lnTo>
                  <a:cubicBezTo>
                    <a:pt x="1511880" y="205497"/>
                    <a:pt x="1664999" y="358616"/>
                    <a:pt x="1853880" y="358616"/>
                  </a:cubicBezTo>
                  <a:cubicBezTo>
                    <a:pt x="2042761" y="358616"/>
                    <a:pt x="2195880" y="205497"/>
                    <a:pt x="2195880" y="16616"/>
                  </a:cubicBezTo>
                  <a:lnTo>
                    <a:pt x="2194205" y="0"/>
                  </a:lnTo>
                  <a:lnTo>
                    <a:pt x="3707760" y="0"/>
                  </a:lnTo>
                  <a:lnTo>
                    <a:pt x="3707760" y="3845433"/>
                  </a:lnTo>
                  <a:lnTo>
                    <a:pt x="2957253" y="4307283"/>
                  </a:lnTo>
                  <a:lnTo>
                    <a:pt x="0" y="4307283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47607513-7FCB-C0F0-FF3F-EA30E1044E66}"/>
                </a:ext>
              </a:extLst>
            </p:cNvPr>
            <p:cNvSpPr>
              <a:spLocks/>
            </p:cNvSpPr>
            <p:nvPr userDrawn="1"/>
          </p:nvSpPr>
          <p:spPr>
            <a:xfrm>
              <a:off x="9556170" y="1208596"/>
              <a:ext cx="612000" cy="61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3EB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5400" b="1" dirty="0">
                  <a:solidFill>
                    <a:srgbClr val="FF3EB5"/>
                  </a:solidFill>
                  <a:latin typeface="Montserrat Black" panose="00000A00000000000000" pitchFamily="50" charset="0"/>
                  <a:sym typeface="Symbol" panose="05050102010706020507" pitchFamily="18" charset="2"/>
                </a:rPr>
                <a:t></a:t>
              </a:r>
              <a:endParaRPr lang="de-DE" sz="5400" b="1" dirty="0">
                <a:solidFill>
                  <a:srgbClr val="FF3EB5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AF0E156-885E-461E-978F-C90378F46F0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2">
            <a:extLst>
              <a:ext uri="{FF2B5EF4-FFF2-40B4-BE49-F238E27FC236}">
                <a16:creationId xmlns:a16="http://schemas.microsoft.com/office/drawing/2014/main" id="{E708C7A5-106D-DC0A-1DF2-A5E4E32FE5A1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256240" y="2702104"/>
            <a:ext cx="3330974" cy="281512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30000"/>
              </a:lnSpc>
              <a:spcBef>
                <a:spcPts val="0"/>
              </a:spcBef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287338" indent="0"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2pPr>
            <a:lvl3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3pPr>
            <a:lvl4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4pPr>
            <a:lvl5pPr>
              <a:defRPr sz="2800"/>
            </a:lvl5pPr>
          </a:lstStyle>
          <a:p>
            <a:pPr lvl="0"/>
            <a:r>
              <a:rPr lang="de-DE" dirty="0"/>
              <a:t>Infobox-Fließtext….</a:t>
            </a:r>
          </a:p>
        </p:txBody>
      </p:sp>
      <p:sp>
        <p:nvSpPr>
          <p:cNvPr id="11" name="Titel2">
            <a:extLst>
              <a:ext uri="{FF2B5EF4-FFF2-40B4-BE49-F238E27FC236}">
                <a16:creationId xmlns:a16="http://schemas.microsoft.com/office/drawing/2014/main" id="{312FA90C-2176-5812-71BE-91A24306D166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8256240" y="2154438"/>
            <a:ext cx="3330974" cy="504000"/>
          </a:xfrm>
        </p:spPr>
        <p:txBody>
          <a:bodyPr vert="horz" wrap="square" lIns="0" tIns="36000" rIns="0" bIns="36000" rtlCol="0">
            <a:noAutofit/>
          </a:bodyPr>
          <a:lstStyle>
            <a:lvl1pPr marL="0" indent="0" algn="l">
              <a:buNone/>
              <a:defRPr lang="de-DE" sz="2000" b="1" cap="all" baseline="0" dirty="0">
                <a:solidFill>
                  <a:srgbClr val="FF3EB5"/>
                </a:solidFill>
                <a:latin typeface="Montserrat Black" panose="00000A00000000000000" pitchFamily="50" charset="0"/>
              </a:defRPr>
            </a:lvl1pPr>
          </a:lstStyle>
          <a:p>
            <a:pPr marL="342900" lvl="0" indent="-342900"/>
            <a:r>
              <a:rPr lang="de-DE" dirty="0"/>
              <a:t>Infobox-Titel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7200000" cy="4752975"/>
          </a:xfrm>
        </p:spPr>
        <p:txBody>
          <a:bodyPr/>
          <a:lstStyle>
            <a:lvl1pPr>
              <a:buClr>
                <a:srgbClr val="FF3EB5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10069F"/>
              </a:buClr>
              <a:defRPr>
                <a:solidFill>
                  <a:srgbClr val="10069F"/>
                </a:solidFill>
              </a:defRPr>
            </a:lvl2pPr>
            <a:lvl3pPr>
              <a:buClr>
                <a:srgbClr val="10069F"/>
              </a:buClr>
              <a:defRPr>
                <a:solidFill>
                  <a:srgbClr val="10069F"/>
                </a:solidFill>
              </a:defRPr>
            </a:lvl3pPr>
            <a:lvl4pPr>
              <a:buClr>
                <a:srgbClr val="10069F"/>
              </a:buClr>
              <a:defRPr>
                <a:solidFill>
                  <a:srgbClr val="10069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2459016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Infobox |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524A238-05C9-A3C0-64DB-9F5F7412F9D6}"/>
              </a:ext>
            </a:extLst>
          </p:cNvPr>
          <p:cNvGrpSpPr/>
          <p:nvPr userDrawn="1"/>
        </p:nvGrpSpPr>
        <p:grpSpPr>
          <a:xfrm>
            <a:off x="8008290" y="1208596"/>
            <a:ext cx="3707760" cy="4596667"/>
            <a:chOff x="8008290" y="1208596"/>
            <a:chExt cx="3707760" cy="4596667"/>
          </a:xfrm>
          <a:solidFill>
            <a:schemeClr val="accent1"/>
          </a:solidFill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73B1ACC-B614-326A-1F1E-5491E17F0725}"/>
                </a:ext>
              </a:extLst>
            </p:cNvPr>
            <p:cNvSpPr/>
            <p:nvPr userDrawn="1"/>
          </p:nvSpPr>
          <p:spPr>
            <a:xfrm>
              <a:off x="8008290" y="1497980"/>
              <a:ext cx="3707760" cy="4307283"/>
            </a:xfrm>
            <a:custGeom>
              <a:avLst/>
              <a:gdLst>
                <a:gd name="connsiteX0" fmla="*/ 0 w 3707760"/>
                <a:gd name="connsiteY0" fmla="*/ 0 h 4307283"/>
                <a:gd name="connsiteX1" fmla="*/ 1513555 w 3707760"/>
                <a:gd name="connsiteY1" fmla="*/ 0 h 4307283"/>
                <a:gd name="connsiteX2" fmla="*/ 1511880 w 3707760"/>
                <a:gd name="connsiteY2" fmla="*/ 16616 h 4307283"/>
                <a:gd name="connsiteX3" fmla="*/ 1853880 w 3707760"/>
                <a:gd name="connsiteY3" fmla="*/ 358616 h 4307283"/>
                <a:gd name="connsiteX4" fmla="*/ 2195880 w 3707760"/>
                <a:gd name="connsiteY4" fmla="*/ 16616 h 4307283"/>
                <a:gd name="connsiteX5" fmla="*/ 2194205 w 3707760"/>
                <a:gd name="connsiteY5" fmla="*/ 0 h 4307283"/>
                <a:gd name="connsiteX6" fmla="*/ 3707760 w 3707760"/>
                <a:gd name="connsiteY6" fmla="*/ 0 h 4307283"/>
                <a:gd name="connsiteX7" fmla="*/ 3707760 w 3707760"/>
                <a:gd name="connsiteY7" fmla="*/ 3845433 h 4307283"/>
                <a:gd name="connsiteX8" fmla="*/ 2957253 w 3707760"/>
                <a:gd name="connsiteY8" fmla="*/ 4307283 h 4307283"/>
                <a:gd name="connsiteX9" fmla="*/ 0 w 3707760"/>
                <a:gd name="connsiteY9" fmla="*/ 4307283 h 430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07760" h="4307283">
                  <a:moveTo>
                    <a:pt x="0" y="0"/>
                  </a:moveTo>
                  <a:lnTo>
                    <a:pt x="1513555" y="0"/>
                  </a:lnTo>
                  <a:lnTo>
                    <a:pt x="1511880" y="16616"/>
                  </a:lnTo>
                  <a:cubicBezTo>
                    <a:pt x="1511880" y="205497"/>
                    <a:pt x="1664999" y="358616"/>
                    <a:pt x="1853880" y="358616"/>
                  </a:cubicBezTo>
                  <a:cubicBezTo>
                    <a:pt x="2042761" y="358616"/>
                    <a:pt x="2195880" y="205497"/>
                    <a:pt x="2195880" y="16616"/>
                  </a:cubicBezTo>
                  <a:lnTo>
                    <a:pt x="2194205" y="0"/>
                  </a:lnTo>
                  <a:lnTo>
                    <a:pt x="3707760" y="0"/>
                  </a:lnTo>
                  <a:lnTo>
                    <a:pt x="3707760" y="3845433"/>
                  </a:lnTo>
                  <a:lnTo>
                    <a:pt x="2957253" y="4307283"/>
                  </a:lnTo>
                  <a:lnTo>
                    <a:pt x="0" y="4307283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47607513-7FCB-C0F0-FF3F-EA30E1044E66}"/>
                </a:ext>
              </a:extLst>
            </p:cNvPr>
            <p:cNvSpPr>
              <a:spLocks/>
            </p:cNvSpPr>
            <p:nvPr userDrawn="1"/>
          </p:nvSpPr>
          <p:spPr>
            <a:xfrm>
              <a:off x="9556170" y="1208596"/>
              <a:ext cx="612000" cy="61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10069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5400" b="1" dirty="0">
                  <a:solidFill>
                    <a:srgbClr val="10069F"/>
                  </a:solidFill>
                  <a:latin typeface="Montserrat Black" panose="00000A00000000000000" pitchFamily="50" charset="0"/>
                  <a:sym typeface="Symbol" panose="05050102010706020507" pitchFamily="18" charset="2"/>
                </a:rPr>
                <a:t></a:t>
              </a:r>
              <a:endParaRPr lang="de-DE" sz="5400" b="1" dirty="0">
                <a:solidFill>
                  <a:srgbClr val="10069F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57A2F3D-2AA5-4F1A-9879-23C40665F6C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2">
            <a:extLst>
              <a:ext uri="{FF2B5EF4-FFF2-40B4-BE49-F238E27FC236}">
                <a16:creationId xmlns:a16="http://schemas.microsoft.com/office/drawing/2014/main" id="{E708C7A5-106D-DC0A-1DF2-A5E4E32FE5A1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256240" y="2702104"/>
            <a:ext cx="3330974" cy="281512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30000"/>
              </a:lnSpc>
              <a:spcBef>
                <a:spcPts val="0"/>
              </a:spcBef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287338" indent="0"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2pPr>
            <a:lvl3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3pPr>
            <a:lvl4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4pPr>
            <a:lvl5pPr>
              <a:defRPr sz="2800"/>
            </a:lvl5pPr>
          </a:lstStyle>
          <a:p>
            <a:pPr lvl="0"/>
            <a:r>
              <a:rPr lang="de-DE" dirty="0"/>
              <a:t>Infobox-Fließtext….</a:t>
            </a:r>
          </a:p>
        </p:txBody>
      </p:sp>
      <p:sp>
        <p:nvSpPr>
          <p:cNvPr id="11" name="Titel2">
            <a:extLst>
              <a:ext uri="{FF2B5EF4-FFF2-40B4-BE49-F238E27FC236}">
                <a16:creationId xmlns:a16="http://schemas.microsoft.com/office/drawing/2014/main" id="{312FA90C-2176-5812-71BE-91A24306D166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8256240" y="2154438"/>
            <a:ext cx="3330974" cy="504000"/>
          </a:xfrm>
        </p:spPr>
        <p:txBody>
          <a:bodyPr vert="horz" wrap="square" lIns="0" tIns="36000" rIns="0" bIns="36000" rtlCol="0">
            <a:noAutofit/>
          </a:bodyPr>
          <a:lstStyle>
            <a:lvl1pPr marL="0" indent="0" algn="l">
              <a:buNone/>
              <a:defRPr lang="de-DE" sz="2000" b="1" cap="all" baseline="0" dirty="0">
                <a:solidFill>
                  <a:srgbClr val="10069F"/>
                </a:solidFill>
                <a:latin typeface="Montserrat Black" panose="00000A00000000000000" pitchFamily="50" charset="0"/>
              </a:defRPr>
            </a:lvl1pPr>
          </a:lstStyle>
          <a:p>
            <a:pPr marL="342900" lvl="0" indent="-342900"/>
            <a:r>
              <a:rPr lang="de-DE" dirty="0"/>
              <a:t>Infobox-Titel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7200000" cy="4752975"/>
          </a:xfrm>
        </p:spPr>
        <p:txBody>
          <a:bodyPr/>
          <a:lstStyle>
            <a:lvl1pPr>
              <a:buClr>
                <a:srgbClr val="FF3EB5"/>
              </a:buClr>
              <a:defRPr>
                <a:solidFill>
                  <a:srgbClr val="10069F"/>
                </a:solidFill>
              </a:defRPr>
            </a:lvl1pPr>
            <a:lvl2pPr>
              <a:buClr>
                <a:srgbClr val="10069F"/>
              </a:buClr>
              <a:defRPr>
                <a:solidFill>
                  <a:srgbClr val="10069F"/>
                </a:solidFill>
              </a:defRPr>
            </a:lvl2pPr>
            <a:lvl3pPr>
              <a:buClr>
                <a:srgbClr val="10069F"/>
              </a:buClr>
              <a:defRPr>
                <a:solidFill>
                  <a:srgbClr val="10069F"/>
                </a:solidFill>
              </a:defRPr>
            </a:lvl3pPr>
            <a:lvl4pPr>
              <a:buClr>
                <a:srgbClr val="10069F"/>
              </a:buClr>
              <a:defRPr>
                <a:solidFill>
                  <a:srgbClr val="10069F"/>
                </a:solidFill>
              </a:defRPr>
            </a:lvl4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490060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Infobox | Tü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524A238-05C9-A3C0-64DB-9F5F7412F9D6}"/>
              </a:ext>
            </a:extLst>
          </p:cNvPr>
          <p:cNvGrpSpPr/>
          <p:nvPr userDrawn="1"/>
        </p:nvGrpSpPr>
        <p:grpSpPr>
          <a:xfrm>
            <a:off x="8008290" y="1208596"/>
            <a:ext cx="3707760" cy="4596667"/>
            <a:chOff x="8008290" y="1208596"/>
            <a:chExt cx="3707760" cy="4596667"/>
          </a:xfrm>
          <a:solidFill>
            <a:srgbClr val="10065A"/>
          </a:solidFill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73B1ACC-B614-326A-1F1E-5491E17F0725}"/>
                </a:ext>
              </a:extLst>
            </p:cNvPr>
            <p:cNvSpPr/>
            <p:nvPr userDrawn="1"/>
          </p:nvSpPr>
          <p:spPr>
            <a:xfrm>
              <a:off x="8008290" y="1497980"/>
              <a:ext cx="3707760" cy="4307283"/>
            </a:xfrm>
            <a:custGeom>
              <a:avLst/>
              <a:gdLst>
                <a:gd name="connsiteX0" fmla="*/ 0 w 3707760"/>
                <a:gd name="connsiteY0" fmla="*/ 0 h 4307283"/>
                <a:gd name="connsiteX1" fmla="*/ 1513555 w 3707760"/>
                <a:gd name="connsiteY1" fmla="*/ 0 h 4307283"/>
                <a:gd name="connsiteX2" fmla="*/ 1511880 w 3707760"/>
                <a:gd name="connsiteY2" fmla="*/ 16616 h 4307283"/>
                <a:gd name="connsiteX3" fmla="*/ 1853880 w 3707760"/>
                <a:gd name="connsiteY3" fmla="*/ 358616 h 4307283"/>
                <a:gd name="connsiteX4" fmla="*/ 2195880 w 3707760"/>
                <a:gd name="connsiteY4" fmla="*/ 16616 h 4307283"/>
                <a:gd name="connsiteX5" fmla="*/ 2194205 w 3707760"/>
                <a:gd name="connsiteY5" fmla="*/ 0 h 4307283"/>
                <a:gd name="connsiteX6" fmla="*/ 3707760 w 3707760"/>
                <a:gd name="connsiteY6" fmla="*/ 0 h 4307283"/>
                <a:gd name="connsiteX7" fmla="*/ 3707760 w 3707760"/>
                <a:gd name="connsiteY7" fmla="*/ 3845433 h 4307283"/>
                <a:gd name="connsiteX8" fmla="*/ 2957253 w 3707760"/>
                <a:gd name="connsiteY8" fmla="*/ 4307283 h 4307283"/>
                <a:gd name="connsiteX9" fmla="*/ 0 w 3707760"/>
                <a:gd name="connsiteY9" fmla="*/ 4307283 h 430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07760" h="4307283">
                  <a:moveTo>
                    <a:pt x="0" y="0"/>
                  </a:moveTo>
                  <a:lnTo>
                    <a:pt x="1513555" y="0"/>
                  </a:lnTo>
                  <a:lnTo>
                    <a:pt x="1511880" y="16616"/>
                  </a:lnTo>
                  <a:cubicBezTo>
                    <a:pt x="1511880" y="205497"/>
                    <a:pt x="1664999" y="358616"/>
                    <a:pt x="1853880" y="358616"/>
                  </a:cubicBezTo>
                  <a:cubicBezTo>
                    <a:pt x="2042761" y="358616"/>
                    <a:pt x="2195880" y="205497"/>
                    <a:pt x="2195880" y="16616"/>
                  </a:cubicBezTo>
                  <a:lnTo>
                    <a:pt x="2194205" y="0"/>
                  </a:lnTo>
                  <a:lnTo>
                    <a:pt x="3707760" y="0"/>
                  </a:lnTo>
                  <a:lnTo>
                    <a:pt x="3707760" y="3845433"/>
                  </a:lnTo>
                  <a:lnTo>
                    <a:pt x="2957253" y="4307283"/>
                  </a:lnTo>
                  <a:lnTo>
                    <a:pt x="0" y="4307283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47607513-7FCB-C0F0-FF3F-EA30E1044E66}"/>
                </a:ext>
              </a:extLst>
            </p:cNvPr>
            <p:cNvSpPr>
              <a:spLocks/>
            </p:cNvSpPr>
            <p:nvPr userDrawn="1"/>
          </p:nvSpPr>
          <p:spPr>
            <a:xfrm>
              <a:off x="9556170" y="1208596"/>
              <a:ext cx="612000" cy="61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3EB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5400" b="1" dirty="0">
                  <a:solidFill>
                    <a:srgbClr val="FF3EB5"/>
                  </a:solidFill>
                  <a:latin typeface="Montserrat Black" panose="00000A00000000000000" pitchFamily="50" charset="0"/>
                  <a:sym typeface="Symbol" panose="05050102010706020507" pitchFamily="18" charset="2"/>
                </a:rPr>
                <a:t></a:t>
              </a:r>
              <a:endParaRPr lang="de-DE" sz="5400" b="1" dirty="0">
                <a:solidFill>
                  <a:srgbClr val="FF3EB5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3D79735-41ED-499E-870D-5895391FA06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2">
            <a:extLst>
              <a:ext uri="{FF2B5EF4-FFF2-40B4-BE49-F238E27FC236}">
                <a16:creationId xmlns:a16="http://schemas.microsoft.com/office/drawing/2014/main" id="{E708C7A5-106D-DC0A-1DF2-A5E4E32FE5A1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256240" y="2702104"/>
            <a:ext cx="3330974" cy="281512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30000"/>
              </a:lnSpc>
              <a:spcBef>
                <a:spcPts val="0"/>
              </a:spcBef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287338" indent="0"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2pPr>
            <a:lvl3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3pPr>
            <a:lvl4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4pPr>
            <a:lvl5pPr>
              <a:defRPr sz="2800"/>
            </a:lvl5pPr>
          </a:lstStyle>
          <a:p>
            <a:pPr lvl="0"/>
            <a:r>
              <a:rPr lang="de-DE" dirty="0"/>
              <a:t>Infobox-Fließtext….</a:t>
            </a:r>
          </a:p>
        </p:txBody>
      </p:sp>
      <p:sp>
        <p:nvSpPr>
          <p:cNvPr id="11" name="Titel2">
            <a:extLst>
              <a:ext uri="{FF2B5EF4-FFF2-40B4-BE49-F238E27FC236}">
                <a16:creationId xmlns:a16="http://schemas.microsoft.com/office/drawing/2014/main" id="{312FA90C-2176-5812-71BE-91A24306D166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8256240" y="2154438"/>
            <a:ext cx="3330974" cy="504000"/>
          </a:xfrm>
        </p:spPr>
        <p:txBody>
          <a:bodyPr vert="horz" wrap="square" lIns="0" tIns="36000" rIns="0" bIns="36000" rtlCol="0">
            <a:noAutofit/>
          </a:bodyPr>
          <a:lstStyle>
            <a:lvl1pPr marL="0" indent="0" algn="l">
              <a:buNone/>
              <a:defRPr lang="de-DE" sz="2000" b="1" cap="all" baseline="0" dirty="0">
                <a:solidFill>
                  <a:srgbClr val="10069F"/>
                </a:solidFill>
                <a:latin typeface="Montserrat Black" panose="00000A00000000000000" pitchFamily="50" charset="0"/>
              </a:defRPr>
            </a:lvl1pPr>
          </a:lstStyle>
          <a:p>
            <a:pPr marL="342900" lvl="0" indent="-342900"/>
            <a:r>
              <a:rPr lang="de-DE" dirty="0"/>
              <a:t>Infobox-Titel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7200000" cy="4752975"/>
          </a:xfrm>
        </p:spPr>
        <p:txBody>
          <a:bodyPr/>
          <a:lstStyle>
            <a:lvl1pPr>
              <a:buClr>
                <a:srgbClr val="10ADAA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310025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Infobox |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524A238-05C9-A3C0-64DB-9F5F7412F9D6}"/>
              </a:ext>
            </a:extLst>
          </p:cNvPr>
          <p:cNvGrpSpPr/>
          <p:nvPr userDrawn="1"/>
        </p:nvGrpSpPr>
        <p:grpSpPr>
          <a:xfrm>
            <a:off x="8008290" y="1208596"/>
            <a:ext cx="3707760" cy="4596667"/>
            <a:chOff x="8008290" y="1208596"/>
            <a:chExt cx="3707760" cy="4596667"/>
          </a:xfrm>
          <a:solidFill>
            <a:srgbClr val="10065A"/>
          </a:solidFill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73B1ACC-B614-326A-1F1E-5491E17F0725}"/>
                </a:ext>
              </a:extLst>
            </p:cNvPr>
            <p:cNvSpPr/>
            <p:nvPr userDrawn="1"/>
          </p:nvSpPr>
          <p:spPr>
            <a:xfrm>
              <a:off x="8008290" y="1497980"/>
              <a:ext cx="3707760" cy="4307283"/>
            </a:xfrm>
            <a:custGeom>
              <a:avLst/>
              <a:gdLst>
                <a:gd name="connsiteX0" fmla="*/ 0 w 3707760"/>
                <a:gd name="connsiteY0" fmla="*/ 0 h 4307283"/>
                <a:gd name="connsiteX1" fmla="*/ 1513555 w 3707760"/>
                <a:gd name="connsiteY1" fmla="*/ 0 h 4307283"/>
                <a:gd name="connsiteX2" fmla="*/ 1511880 w 3707760"/>
                <a:gd name="connsiteY2" fmla="*/ 16616 h 4307283"/>
                <a:gd name="connsiteX3" fmla="*/ 1853880 w 3707760"/>
                <a:gd name="connsiteY3" fmla="*/ 358616 h 4307283"/>
                <a:gd name="connsiteX4" fmla="*/ 2195880 w 3707760"/>
                <a:gd name="connsiteY4" fmla="*/ 16616 h 4307283"/>
                <a:gd name="connsiteX5" fmla="*/ 2194205 w 3707760"/>
                <a:gd name="connsiteY5" fmla="*/ 0 h 4307283"/>
                <a:gd name="connsiteX6" fmla="*/ 3707760 w 3707760"/>
                <a:gd name="connsiteY6" fmla="*/ 0 h 4307283"/>
                <a:gd name="connsiteX7" fmla="*/ 3707760 w 3707760"/>
                <a:gd name="connsiteY7" fmla="*/ 3845433 h 4307283"/>
                <a:gd name="connsiteX8" fmla="*/ 2957253 w 3707760"/>
                <a:gd name="connsiteY8" fmla="*/ 4307283 h 4307283"/>
                <a:gd name="connsiteX9" fmla="*/ 0 w 3707760"/>
                <a:gd name="connsiteY9" fmla="*/ 4307283 h 430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07760" h="4307283">
                  <a:moveTo>
                    <a:pt x="0" y="0"/>
                  </a:moveTo>
                  <a:lnTo>
                    <a:pt x="1513555" y="0"/>
                  </a:lnTo>
                  <a:lnTo>
                    <a:pt x="1511880" y="16616"/>
                  </a:lnTo>
                  <a:cubicBezTo>
                    <a:pt x="1511880" y="205497"/>
                    <a:pt x="1664999" y="358616"/>
                    <a:pt x="1853880" y="358616"/>
                  </a:cubicBezTo>
                  <a:cubicBezTo>
                    <a:pt x="2042761" y="358616"/>
                    <a:pt x="2195880" y="205497"/>
                    <a:pt x="2195880" y="16616"/>
                  </a:cubicBezTo>
                  <a:lnTo>
                    <a:pt x="2194205" y="0"/>
                  </a:lnTo>
                  <a:lnTo>
                    <a:pt x="3707760" y="0"/>
                  </a:lnTo>
                  <a:lnTo>
                    <a:pt x="3707760" y="3845433"/>
                  </a:lnTo>
                  <a:lnTo>
                    <a:pt x="2957253" y="4307283"/>
                  </a:lnTo>
                  <a:lnTo>
                    <a:pt x="0" y="4307283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47607513-7FCB-C0F0-FF3F-EA30E1044E66}"/>
                </a:ext>
              </a:extLst>
            </p:cNvPr>
            <p:cNvSpPr>
              <a:spLocks/>
            </p:cNvSpPr>
            <p:nvPr userDrawn="1"/>
          </p:nvSpPr>
          <p:spPr>
            <a:xfrm>
              <a:off x="9556170" y="1208596"/>
              <a:ext cx="612000" cy="61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10AD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5400" b="1" dirty="0">
                  <a:solidFill>
                    <a:srgbClr val="10AD00"/>
                  </a:solidFill>
                  <a:latin typeface="Montserrat Black" panose="00000A00000000000000" pitchFamily="50" charset="0"/>
                  <a:sym typeface="Symbol" panose="05050102010706020507" pitchFamily="18" charset="2"/>
                </a:rPr>
                <a:t></a:t>
              </a:r>
              <a:endParaRPr lang="de-DE" sz="5400" b="1" dirty="0">
                <a:solidFill>
                  <a:srgbClr val="10AD00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E1CE117-DBC5-43E9-873C-F9ED01BC4C5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2">
            <a:extLst>
              <a:ext uri="{FF2B5EF4-FFF2-40B4-BE49-F238E27FC236}">
                <a16:creationId xmlns:a16="http://schemas.microsoft.com/office/drawing/2014/main" id="{E708C7A5-106D-DC0A-1DF2-A5E4E32FE5A1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256240" y="2702104"/>
            <a:ext cx="3330974" cy="281512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30000"/>
              </a:lnSpc>
              <a:spcBef>
                <a:spcPts val="0"/>
              </a:spcBef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287338" indent="0"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2pPr>
            <a:lvl3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3pPr>
            <a:lvl4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4pPr>
            <a:lvl5pPr>
              <a:defRPr sz="2800"/>
            </a:lvl5pPr>
          </a:lstStyle>
          <a:p>
            <a:pPr lvl="0"/>
            <a:r>
              <a:rPr lang="de-DE" dirty="0"/>
              <a:t>Infobox-Fließtext….</a:t>
            </a:r>
          </a:p>
        </p:txBody>
      </p:sp>
      <p:sp>
        <p:nvSpPr>
          <p:cNvPr id="11" name="Titel2">
            <a:extLst>
              <a:ext uri="{FF2B5EF4-FFF2-40B4-BE49-F238E27FC236}">
                <a16:creationId xmlns:a16="http://schemas.microsoft.com/office/drawing/2014/main" id="{312FA90C-2176-5812-71BE-91A24306D166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8256240" y="2154438"/>
            <a:ext cx="3330974" cy="504000"/>
          </a:xfrm>
        </p:spPr>
        <p:txBody>
          <a:bodyPr vert="horz" wrap="square" lIns="0" tIns="36000" rIns="0" bIns="36000" rtlCol="0">
            <a:noAutofit/>
          </a:bodyPr>
          <a:lstStyle>
            <a:lvl1pPr marL="0" indent="0" algn="l">
              <a:buNone/>
              <a:defRPr lang="de-DE" sz="2000" b="1" cap="all" baseline="0" dirty="0">
                <a:solidFill>
                  <a:srgbClr val="10AD00"/>
                </a:solidFill>
                <a:latin typeface="Montserrat Black" panose="00000A00000000000000" pitchFamily="50" charset="0"/>
              </a:defRPr>
            </a:lvl1pPr>
          </a:lstStyle>
          <a:p>
            <a:pPr marL="342900" lvl="0" indent="-342900"/>
            <a:r>
              <a:rPr lang="de-DE" dirty="0"/>
              <a:t>Infobox-Titel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7200000" cy="4752975"/>
          </a:xfrm>
        </p:spPr>
        <p:txBody>
          <a:bodyPr/>
          <a:lstStyle>
            <a:lvl1pPr>
              <a:buClr>
                <a:srgbClr val="8C3E9F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042109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Infobox |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524A238-05C9-A3C0-64DB-9F5F7412F9D6}"/>
              </a:ext>
            </a:extLst>
          </p:cNvPr>
          <p:cNvGrpSpPr/>
          <p:nvPr userDrawn="1"/>
        </p:nvGrpSpPr>
        <p:grpSpPr>
          <a:xfrm>
            <a:off x="8008290" y="1208596"/>
            <a:ext cx="3707760" cy="4596667"/>
            <a:chOff x="8008290" y="1208596"/>
            <a:chExt cx="3707760" cy="4596667"/>
          </a:xfrm>
          <a:solidFill>
            <a:srgbClr val="10065A"/>
          </a:solidFill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73B1ACC-B614-326A-1F1E-5491E17F0725}"/>
                </a:ext>
              </a:extLst>
            </p:cNvPr>
            <p:cNvSpPr/>
            <p:nvPr userDrawn="1"/>
          </p:nvSpPr>
          <p:spPr>
            <a:xfrm>
              <a:off x="8008290" y="1497980"/>
              <a:ext cx="3707760" cy="4307283"/>
            </a:xfrm>
            <a:custGeom>
              <a:avLst/>
              <a:gdLst>
                <a:gd name="connsiteX0" fmla="*/ 0 w 3707760"/>
                <a:gd name="connsiteY0" fmla="*/ 0 h 4307283"/>
                <a:gd name="connsiteX1" fmla="*/ 1513555 w 3707760"/>
                <a:gd name="connsiteY1" fmla="*/ 0 h 4307283"/>
                <a:gd name="connsiteX2" fmla="*/ 1511880 w 3707760"/>
                <a:gd name="connsiteY2" fmla="*/ 16616 h 4307283"/>
                <a:gd name="connsiteX3" fmla="*/ 1853880 w 3707760"/>
                <a:gd name="connsiteY3" fmla="*/ 358616 h 4307283"/>
                <a:gd name="connsiteX4" fmla="*/ 2195880 w 3707760"/>
                <a:gd name="connsiteY4" fmla="*/ 16616 h 4307283"/>
                <a:gd name="connsiteX5" fmla="*/ 2194205 w 3707760"/>
                <a:gd name="connsiteY5" fmla="*/ 0 h 4307283"/>
                <a:gd name="connsiteX6" fmla="*/ 3707760 w 3707760"/>
                <a:gd name="connsiteY6" fmla="*/ 0 h 4307283"/>
                <a:gd name="connsiteX7" fmla="*/ 3707760 w 3707760"/>
                <a:gd name="connsiteY7" fmla="*/ 3845433 h 4307283"/>
                <a:gd name="connsiteX8" fmla="*/ 2957253 w 3707760"/>
                <a:gd name="connsiteY8" fmla="*/ 4307283 h 4307283"/>
                <a:gd name="connsiteX9" fmla="*/ 0 w 3707760"/>
                <a:gd name="connsiteY9" fmla="*/ 4307283 h 430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07760" h="4307283">
                  <a:moveTo>
                    <a:pt x="0" y="0"/>
                  </a:moveTo>
                  <a:lnTo>
                    <a:pt x="1513555" y="0"/>
                  </a:lnTo>
                  <a:lnTo>
                    <a:pt x="1511880" y="16616"/>
                  </a:lnTo>
                  <a:cubicBezTo>
                    <a:pt x="1511880" y="205497"/>
                    <a:pt x="1664999" y="358616"/>
                    <a:pt x="1853880" y="358616"/>
                  </a:cubicBezTo>
                  <a:cubicBezTo>
                    <a:pt x="2042761" y="358616"/>
                    <a:pt x="2195880" y="205497"/>
                    <a:pt x="2195880" y="16616"/>
                  </a:cubicBezTo>
                  <a:lnTo>
                    <a:pt x="2194205" y="0"/>
                  </a:lnTo>
                  <a:lnTo>
                    <a:pt x="3707760" y="0"/>
                  </a:lnTo>
                  <a:lnTo>
                    <a:pt x="3707760" y="3845433"/>
                  </a:lnTo>
                  <a:lnTo>
                    <a:pt x="2957253" y="4307283"/>
                  </a:lnTo>
                  <a:lnTo>
                    <a:pt x="0" y="4307283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47607513-7FCB-C0F0-FF3F-EA30E1044E66}"/>
                </a:ext>
              </a:extLst>
            </p:cNvPr>
            <p:cNvSpPr>
              <a:spLocks/>
            </p:cNvSpPr>
            <p:nvPr userDrawn="1"/>
          </p:nvSpPr>
          <p:spPr>
            <a:xfrm>
              <a:off x="9556170" y="1208596"/>
              <a:ext cx="612000" cy="61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8C3E9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5400" b="1" dirty="0">
                  <a:solidFill>
                    <a:srgbClr val="8C3E9F"/>
                  </a:solidFill>
                  <a:latin typeface="Montserrat Black" panose="00000A00000000000000" pitchFamily="50" charset="0"/>
                  <a:sym typeface="Symbol" panose="05050102010706020507" pitchFamily="18" charset="2"/>
                </a:rPr>
                <a:t></a:t>
              </a:r>
              <a:endParaRPr lang="de-DE" sz="5400" b="1" dirty="0">
                <a:solidFill>
                  <a:srgbClr val="8C3E9F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CB5D547-4730-4E9B-9494-7C2CA9F9570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2">
            <a:extLst>
              <a:ext uri="{FF2B5EF4-FFF2-40B4-BE49-F238E27FC236}">
                <a16:creationId xmlns:a16="http://schemas.microsoft.com/office/drawing/2014/main" id="{E708C7A5-106D-DC0A-1DF2-A5E4E32FE5A1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256240" y="2702104"/>
            <a:ext cx="3330974" cy="281512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30000"/>
              </a:lnSpc>
              <a:spcBef>
                <a:spcPts val="0"/>
              </a:spcBef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287338" indent="0"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2pPr>
            <a:lvl3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3pPr>
            <a:lvl4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4pPr>
            <a:lvl5pPr>
              <a:defRPr sz="2800"/>
            </a:lvl5pPr>
          </a:lstStyle>
          <a:p>
            <a:pPr lvl="0"/>
            <a:r>
              <a:rPr lang="de-DE" dirty="0"/>
              <a:t>Infobox-Fließtext….</a:t>
            </a:r>
          </a:p>
        </p:txBody>
      </p:sp>
      <p:sp>
        <p:nvSpPr>
          <p:cNvPr id="11" name="Titel2">
            <a:extLst>
              <a:ext uri="{FF2B5EF4-FFF2-40B4-BE49-F238E27FC236}">
                <a16:creationId xmlns:a16="http://schemas.microsoft.com/office/drawing/2014/main" id="{312FA90C-2176-5812-71BE-91A24306D166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8256240" y="2154438"/>
            <a:ext cx="3330974" cy="504000"/>
          </a:xfrm>
        </p:spPr>
        <p:txBody>
          <a:bodyPr vert="horz" wrap="square" lIns="0" tIns="36000" rIns="0" bIns="36000" rtlCol="0">
            <a:noAutofit/>
          </a:bodyPr>
          <a:lstStyle>
            <a:lvl1pPr marL="0" indent="0" algn="l">
              <a:buNone/>
              <a:defRPr lang="de-DE" sz="2000" b="1" cap="all" baseline="0" dirty="0">
                <a:solidFill>
                  <a:srgbClr val="10065A"/>
                </a:solidFill>
                <a:latin typeface="Montserrat Black" panose="00000A00000000000000" pitchFamily="50" charset="0"/>
              </a:defRPr>
            </a:lvl1pPr>
          </a:lstStyle>
          <a:p>
            <a:pPr marL="342900" lvl="0" indent="-342900"/>
            <a:r>
              <a:rPr lang="de-DE" dirty="0"/>
              <a:t>Infobox-Titel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7200000" cy="4752975"/>
          </a:xfrm>
        </p:spPr>
        <p:txBody>
          <a:bodyPr/>
          <a:lstStyle>
            <a:lvl1pPr>
              <a:buClr>
                <a:srgbClr val="FF4414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7072288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Infobox |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524A238-05C9-A3C0-64DB-9F5F7412F9D6}"/>
              </a:ext>
            </a:extLst>
          </p:cNvPr>
          <p:cNvGrpSpPr/>
          <p:nvPr userDrawn="1"/>
        </p:nvGrpSpPr>
        <p:grpSpPr>
          <a:xfrm>
            <a:off x="8008290" y="1208596"/>
            <a:ext cx="3707760" cy="4596667"/>
            <a:chOff x="8008290" y="1208596"/>
            <a:chExt cx="3707760" cy="4596667"/>
          </a:xfrm>
          <a:solidFill>
            <a:srgbClr val="10065A"/>
          </a:solidFill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73B1ACC-B614-326A-1F1E-5491E17F0725}"/>
                </a:ext>
              </a:extLst>
            </p:cNvPr>
            <p:cNvSpPr/>
            <p:nvPr userDrawn="1"/>
          </p:nvSpPr>
          <p:spPr>
            <a:xfrm>
              <a:off x="8008290" y="1497980"/>
              <a:ext cx="3707760" cy="4307283"/>
            </a:xfrm>
            <a:custGeom>
              <a:avLst/>
              <a:gdLst>
                <a:gd name="connsiteX0" fmla="*/ 0 w 3707760"/>
                <a:gd name="connsiteY0" fmla="*/ 0 h 4307283"/>
                <a:gd name="connsiteX1" fmla="*/ 1513555 w 3707760"/>
                <a:gd name="connsiteY1" fmla="*/ 0 h 4307283"/>
                <a:gd name="connsiteX2" fmla="*/ 1511880 w 3707760"/>
                <a:gd name="connsiteY2" fmla="*/ 16616 h 4307283"/>
                <a:gd name="connsiteX3" fmla="*/ 1853880 w 3707760"/>
                <a:gd name="connsiteY3" fmla="*/ 358616 h 4307283"/>
                <a:gd name="connsiteX4" fmla="*/ 2195880 w 3707760"/>
                <a:gd name="connsiteY4" fmla="*/ 16616 h 4307283"/>
                <a:gd name="connsiteX5" fmla="*/ 2194205 w 3707760"/>
                <a:gd name="connsiteY5" fmla="*/ 0 h 4307283"/>
                <a:gd name="connsiteX6" fmla="*/ 3707760 w 3707760"/>
                <a:gd name="connsiteY6" fmla="*/ 0 h 4307283"/>
                <a:gd name="connsiteX7" fmla="*/ 3707760 w 3707760"/>
                <a:gd name="connsiteY7" fmla="*/ 3845433 h 4307283"/>
                <a:gd name="connsiteX8" fmla="*/ 2957253 w 3707760"/>
                <a:gd name="connsiteY8" fmla="*/ 4307283 h 4307283"/>
                <a:gd name="connsiteX9" fmla="*/ 0 w 3707760"/>
                <a:gd name="connsiteY9" fmla="*/ 4307283 h 430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07760" h="4307283">
                  <a:moveTo>
                    <a:pt x="0" y="0"/>
                  </a:moveTo>
                  <a:lnTo>
                    <a:pt x="1513555" y="0"/>
                  </a:lnTo>
                  <a:lnTo>
                    <a:pt x="1511880" y="16616"/>
                  </a:lnTo>
                  <a:cubicBezTo>
                    <a:pt x="1511880" y="205497"/>
                    <a:pt x="1664999" y="358616"/>
                    <a:pt x="1853880" y="358616"/>
                  </a:cubicBezTo>
                  <a:cubicBezTo>
                    <a:pt x="2042761" y="358616"/>
                    <a:pt x="2195880" y="205497"/>
                    <a:pt x="2195880" y="16616"/>
                  </a:cubicBezTo>
                  <a:lnTo>
                    <a:pt x="2194205" y="0"/>
                  </a:lnTo>
                  <a:lnTo>
                    <a:pt x="3707760" y="0"/>
                  </a:lnTo>
                  <a:lnTo>
                    <a:pt x="3707760" y="3845433"/>
                  </a:lnTo>
                  <a:lnTo>
                    <a:pt x="2957253" y="4307283"/>
                  </a:lnTo>
                  <a:lnTo>
                    <a:pt x="0" y="4307283"/>
                  </a:lnTo>
                  <a:close/>
                </a:path>
              </a:pathLst>
            </a:custGeom>
            <a:solidFill>
              <a:srgbClr val="FFA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47607513-7FCB-C0F0-FF3F-EA30E1044E66}"/>
                </a:ext>
              </a:extLst>
            </p:cNvPr>
            <p:cNvSpPr>
              <a:spLocks/>
            </p:cNvSpPr>
            <p:nvPr userDrawn="1"/>
          </p:nvSpPr>
          <p:spPr>
            <a:xfrm>
              <a:off x="9556170" y="1208596"/>
              <a:ext cx="612000" cy="61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8C3E9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5400" b="1" dirty="0">
                  <a:solidFill>
                    <a:srgbClr val="8C3E9F"/>
                  </a:solidFill>
                  <a:latin typeface="Montserrat Black" panose="00000A00000000000000" pitchFamily="50" charset="0"/>
                  <a:sym typeface="Symbol" panose="05050102010706020507" pitchFamily="18" charset="2"/>
                </a:rPr>
                <a:t></a:t>
              </a:r>
              <a:endParaRPr lang="de-DE" sz="5400" b="1" dirty="0">
                <a:solidFill>
                  <a:srgbClr val="8C3E9F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511F667-1ABD-4571-BD54-6B7351B3E32A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2">
            <a:extLst>
              <a:ext uri="{FF2B5EF4-FFF2-40B4-BE49-F238E27FC236}">
                <a16:creationId xmlns:a16="http://schemas.microsoft.com/office/drawing/2014/main" id="{E708C7A5-106D-DC0A-1DF2-A5E4E32FE5A1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256240" y="2702104"/>
            <a:ext cx="3330974" cy="281512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30000"/>
              </a:lnSpc>
              <a:spcBef>
                <a:spcPts val="0"/>
              </a:spcBef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287338" indent="0"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2pPr>
            <a:lvl3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3pPr>
            <a:lvl4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4pPr>
            <a:lvl5pPr>
              <a:defRPr sz="2800"/>
            </a:lvl5pPr>
          </a:lstStyle>
          <a:p>
            <a:pPr lvl="0"/>
            <a:r>
              <a:rPr lang="de-DE" dirty="0"/>
              <a:t>Infobox-Fließtext….</a:t>
            </a:r>
          </a:p>
        </p:txBody>
      </p:sp>
      <p:sp>
        <p:nvSpPr>
          <p:cNvPr id="11" name="Titel2">
            <a:extLst>
              <a:ext uri="{FF2B5EF4-FFF2-40B4-BE49-F238E27FC236}">
                <a16:creationId xmlns:a16="http://schemas.microsoft.com/office/drawing/2014/main" id="{312FA90C-2176-5812-71BE-91A24306D166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8256240" y="2154438"/>
            <a:ext cx="3330974" cy="504000"/>
          </a:xfrm>
        </p:spPr>
        <p:txBody>
          <a:bodyPr vert="horz" wrap="square" lIns="0" tIns="36000" rIns="0" bIns="36000" rtlCol="0">
            <a:noAutofit/>
          </a:bodyPr>
          <a:lstStyle>
            <a:lvl1pPr marL="0" indent="0" algn="l">
              <a:buNone/>
              <a:defRPr lang="de-DE" sz="2000" b="1" cap="all" baseline="0" dirty="0">
                <a:solidFill>
                  <a:srgbClr val="8C3E9F"/>
                </a:solidFill>
                <a:latin typeface="Montserrat Black" panose="00000A00000000000000" pitchFamily="50" charset="0"/>
              </a:defRPr>
            </a:lvl1pPr>
          </a:lstStyle>
          <a:p>
            <a:pPr marL="342900" lvl="0" indent="-342900"/>
            <a:r>
              <a:rPr lang="de-DE" dirty="0"/>
              <a:t>Infobox-Titel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7200000" cy="4752975"/>
          </a:xfrm>
        </p:spPr>
        <p:txBody>
          <a:bodyPr/>
          <a:lstStyle>
            <a:lvl1pPr>
              <a:buClr>
                <a:srgbClr val="FFAD00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3012357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Infobox |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524A238-05C9-A3C0-64DB-9F5F7412F9D6}"/>
              </a:ext>
            </a:extLst>
          </p:cNvPr>
          <p:cNvGrpSpPr/>
          <p:nvPr userDrawn="1"/>
        </p:nvGrpSpPr>
        <p:grpSpPr>
          <a:xfrm>
            <a:off x="8008290" y="1208596"/>
            <a:ext cx="3707760" cy="4596667"/>
            <a:chOff x="8008290" y="1208596"/>
            <a:chExt cx="3707760" cy="4596667"/>
          </a:xfrm>
          <a:solidFill>
            <a:srgbClr val="10065A"/>
          </a:solidFill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73B1ACC-B614-326A-1F1E-5491E17F0725}"/>
                </a:ext>
              </a:extLst>
            </p:cNvPr>
            <p:cNvSpPr/>
            <p:nvPr userDrawn="1"/>
          </p:nvSpPr>
          <p:spPr>
            <a:xfrm>
              <a:off x="8008290" y="1497980"/>
              <a:ext cx="3707760" cy="4307283"/>
            </a:xfrm>
            <a:custGeom>
              <a:avLst/>
              <a:gdLst>
                <a:gd name="connsiteX0" fmla="*/ 0 w 3707760"/>
                <a:gd name="connsiteY0" fmla="*/ 0 h 4307283"/>
                <a:gd name="connsiteX1" fmla="*/ 1513555 w 3707760"/>
                <a:gd name="connsiteY1" fmla="*/ 0 h 4307283"/>
                <a:gd name="connsiteX2" fmla="*/ 1511880 w 3707760"/>
                <a:gd name="connsiteY2" fmla="*/ 16616 h 4307283"/>
                <a:gd name="connsiteX3" fmla="*/ 1853880 w 3707760"/>
                <a:gd name="connsiteY3" fmla="*/ 358616 h 4307283"/>
                <a:gd name="connsiteX4" fmla="*/ 2195880 w 3707760"/>
                <a:gd name="connsiteY4" fmla="*/ 16616 h 4307283"/>
                <a:gd name="connsiteX5" fmla="*/ 2194205 w 3707760"/>
                <a:gd name="connsiteY5" fmla="*/ 0 h 4307283"/>
                <a:gd name="connsiteX6" fmla="*/ 3707760 w 3707760"/>
                <a:gd name="connsiteY6" fmla="*/ 0 h 4307283"/>
                <a:gd name="connsiteX7" fmla="*/ 3707760 w 3707760"/>
                <a:gd name="connsiteY7" fmla="*/ 3845433 h 4307283"/>
                <a:gd name="connsiteX8" fmla="*/ 2957253 w 3707760"/>
                <a:gd name="connsiteY8" fmla="*/ 4307283 h 4307283"/>
                <a:gd name="connsiteX9" fmla="*/ 0 w 3707760"/>
                <a:gd name="connsiteY9" fmla="*/ 4307283 h 430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07760" h="4307283">
                  <a:moveTo>
                    <a:pt x="0" y="0"/>
                  </a:moveTo>
                  <a:lnTo>
                    <a:pt x="1513555" y="0"/>
                  </a:lnTo>
                  <a:lnTo>
                    <a:pt x="1511880" y="16616"/>
                  </a:lnTo>
                  <a:cubicBezTo>
                    <a:pt x="1511880" y="205497"/>
                    <a:pt x="1664999" y="358616"/>
                    <a:pt x="1853880" y="358616"/>
                  </a:cubicBezTo>
                  <a:cubicBezTo>
                    <a:pt x="2042761" y="358616"/>
                    <a:pt x="2195880" y="205497"/>
                    <a:pt x="2195880" y="16616"/>
                  </a:cubicBezTo>
                  <a:lnTo>
                    <a:pt x="2194205" y="0"/>
                  </a:lnTo>
                  <a:lnTo>
                    <a:pt x="3707760" y="0"/>
                  </a:lnTo>
                  <a:lnTo>
                    <a:pt x="3707760" y="3845433"/>
                  </a:lnTo>
                  <a:lnTo>
                    <a:pt x="2957253" y="4307283"/>
                  </a:lnTo>
                  <a:lnTo>
                    <a:pt x="0" y="4307283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47607513-7FCB-C0F0-FF3F-EA30E1044E66}"/>
                </a:ext>
              </a:extLst>
            </p:cNvPr>
            <p:cNvSpPr>
              <a:spLocks/>
            </p:cNvSpPr>
            <p:nvPr userDrawn="1"/>
          </p:nvSpPr>
          <p:spPr>
            <a:xfrm>
              <a:off x="9556170" y="1208596"/>
              <a:ext cx="612000" cy="61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441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5400" b="1" dirty="0">
                  <a:solidFill>
                    <a:srgbClr val="FF4414"/>
                  </a:solidFill>
                  <a:latin typeface="Montserrat Black" panose="00000A00000000000000" pitchFamily="50" charset="0"/>
                  <a:sym typeface="Symbol" panose="05050102010706020507" pitchFamily="18" charset="2"/>
                </a:rPr>
                <a:t></a:t>
              </a:r>
              <a:endParaRPr lang="de-DE" sz="5400" b="1" dirty="0">
                <a:solidFill>
                  <a:srgbClr val="FF4414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D8C4CC4-B6B0-45B3-AAC1-034B36E6F3ED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Text2">
            <a:extLst>
              <a:ext uri="{FF2B5EF4-FFF2-40B4-BE49-F238E27FC236}">
                <a16:creationId xmlns:a16="http://schemas.microsoft.com/office/drawing/2014/main" id="{E708C7A5-106D-DC0A-1DF2-A5E4E32FE5A1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256240" y="2702104"/>
            <a:ext cx="3330974" cy="281512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30000"/>
              </a:lnSpc>
              <a:spcBef>
                <a:spcPts val="0"/>
              </a:spcBef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287338" indent="0">
              <a:buClr>
                <a:srgbClr val="FF3EB5"/>
              </a:buClr>
              <a:buFontTx/>
              <a:buNone/>
              <a:defRPr sz="2000" b="1">
                <a:solidFill>
                  <a:schemeClr val="bg1"/>
                </a:solidFill>
              </a:defRPr>
            </a:lvl2pPr>
            <a:lvl3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3pPr>
            <a:lvl4pPr>
              <a:buClr>
                <a:srgbClr val="FF3EB5"/>
              </a:buClr>
              <a:defRPr sz="2000" b="0">
                <a:solidFill>
                  <a:schemeClr val="bg1"/>
                </a:solidFill>
              </a:defRPr>
            </a:lvl4pPr>
            <a:lvl5pPr>
              <a:defRPr sz="2800"/>
            </a:lvl5pPr>
          </a:lstStyle>
          <a:p>
            <a:pPr lvl="0"/>
            <a:r>
              <a:rPr lang="de-DE" dirty="0"/>
              <a:t>Infobox-Fließtext….</a:t>
            </a:r>
          </a:p>
        </p:txBody>
      </p:sp>
      <p:sp>
        <p:nvSpPr>
          <p:cNvPr id="11" name="Titel2">
            <a:extLst>
              <a:ext uri="{FF2B5EF4-FFF2-40B4-BE49-F238E27FC236}">
                <a16:creationId xmlns:a16="http://schemas.microsoft.com/office/drawing/2014/main" id="{312FA90C-2176-5812-71BE-91A24306D166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8256240" y="2154438"/>
            <a:ext cx="3330974" cy="504000"/>
          </a:xfrm>
        </p:spPr>
        <p:txBody>
          <a:bodyPr vert="horz" wrap="square" lIns="0" tIns="36000" rIns="0" bIns="36000" rtlCol="0">
            <a:noAutofit/>
          </a:bodyPr>
          <a:lstStyle>
            <a:lvl1pPr marL="0" indent="0" algn="l">
              <a:buNone/>
              <a:defRPr lang="de-DE" sz="2000" b="1" cap="all" baseline="0" dirty="0">
                <a:solidFill>
                  <a:srgbClr val="10065A"/>
                </a:solidFill>
                <a:latin typeface="Montserrat Black" panose="00000A00000000000000" pitchFamily="50" charset="0"/>
              </a:defRPr>
            </a:lvl1pPr>
          </a:lstStyle>
          <a:p>
            <a:pPr marL="342900" lvl="0" indent="-342900"/>
            <a:r>
              <a:rPr lang="de-DE" dirty="0"/>
              <a:t>Infobox-Titel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33EA8456-3D61-E2E4-BD33-02AE97EF90E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3" y="1196975"/>
            <a:ext cx="7200000" cy="4752975"/>
          </a:xfrm>
        </p:spPr>
        <p:txBody>
          <a:bodyPr/>
          <a:lstStyle>
            <a:lvl1pPr>
              <a:buClr>
                <a:srgbClr val="10AD00"/>
              </a:buClr>
              <a:defRPr/>
            </a:lvl1pPr>
          </a:lstStyle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5863406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Pink/Dunkel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000" y="5781691"/>
            <a:ext cx="2736000" cy="1076181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FF3E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31593993-BF71-49DA-9751-683B3D8FF1FA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2173875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GRAMM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">
            <a:extLst>
              <a:ext uri="{FF2B5EF4-FFF2-40B4-BE49-F238E27FC236}">
                <a16:creationId xmlns:a16="http://schemas.microsoft.com/office/drawing/2014/main" id="{97731A11-C713-C88D-BB91-277E0545AB4F}"/>
              </a:ext>
            </a:extLst>
          </p:cNvPr>
          <p:cNvSpPr txBox="1"/>
          <p:nvPr userDrawn="1"/>
        </p:nvSpPr>
        <p:spPr>
          <a:xfrm>
            <a:off x="0" y="2070230"/>
            <a:ext cx="12192000" cy="2717540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r>
              <a:rPr lang="de-DE" sz="13800" cap="all" baseline="0" dirty="0">
                <a:solidFill>
                  <a:srgbClr val="FF3EB5"/>
                </a:solidFill>
                <a:latin typeface="Montserrat Black" pitchFamily="2" charset="0"/>
              </a:rPr>
              <a:t>Diagramm</a:t>
            </a:r>
          </a:p>
        </p:txBody>
      </p:sp>
    </p:spTree>
    <p:extLst>
      <p:ext uri="{BB962C8B-B14F-4D97-AF65-F5344CB8AC3E}">
        <p14:creationId xmlns:p14="http://schemas.microsoft.com/office/powerpoint/2010/main" val="3875543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| 1er /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iagramm-Hintergrund">
            <a:extLst>
              <a:ext uri="{FF2B5EF4-FFF2-40B4-BE49-F238E27FC236}">
                <a16:creationId xmlns:a16="http://schemas.microsoft.com/office/drawing/2014/main" id="{EBC91B48-ED15-DCD2-4357-86E4B21B4334}"/>
              </a:ext>
            </a:extLst>
          </p:cNvPr>
          <p:cNvSpPr/>
          <p:nvPr userDrawn="1"/>
        </p:nvSpPr>
        <p:spPr>
          <a:xfrm>
            <a:off x="540000" y="1762183"/>
            <a:ext cx="11161240" cy="4176000"/>
          </a:xfrm>
          <a:custGeom>
            <a:avLst/>
            <a:gdLst>
              <a:gd name="connsiteX0" fmla="*/ 11161239 w 11161240"/>
              <a:gd name="connsiteY0" fmla="*/ 3635999 h 4176000"/>
              <a:gd name="connsiteX1" fmla="*/ 10261239 w 11161240"/>
              <a:gd name="connsiteY1" fmla="*/ 4158965 h 4176000"/>
              <a:gd name="connsiteX2" fmla="*/ 10261239 w 11161240"/>
              <a:gd name="connsiteY2" fmla="*/ 4175999 h 4176000"/>
              <a:gd name="connsiteX3" fmla="*/ 11161239 w 11161240"/>
              <a:gd name="connsiteY3" fmla="*/ 4175999 h 4176000"/>
              <a:gd name="connsiteX4" fmla="*/ 0 w 11161240"/>
              <a:gd name="connsiteY4" fmla="*/ 0 h 4176000"/>
              <a:gd name="connsiteX5" fmla="*/ 11161240 w 11161240"/>
              <a:gd name="connsiteY5" fmla="*/ 0 h 4176000"/>
              <a:gd name="connsiteX6" fmla="*/ 11161240 w 11161240"/>
              <a:gd name="connsiteY6" fmla="*/ 4176000 h 4176000"/>
              <a:gd name="connsiteX7" fmla="*/ 0 w 11161240"/>
              <a:gd name="connsiteY7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61240" h="4176000">
                <a:moveTo>
                  <a:pt x="11161239" y="3635999"/>
                </a:moveTo>
                <a:lnTo>
                  <a:pt x="10261239" y="4158965"/>
                </a:lnTo>
                <a:lnTo>
                  <a:pt x="10261239" y="4175999"/>
                </a:lnTo>
                <a:lnTo>
                  <a:pt x="11161239" y="4175999"/>
                </a:lnTo>
                <a:close/>
                <a:moveTo>
                  <a:pt x="0" y="0"/>
                </a:moveTo>
                <a:lnTo>
                  <a:pt x="11161240" y="0"/>
                </a:lnTo>
                <a:lnTo>
                  <a:pt x="1116124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94C91C5-B7B2-4AC8-A42E-8B59BE6168F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Diagramm-Quelle">
            <a:extLst>
              <a:ext uri="{FF2B5EF4-FFF2-40B4-BE49-F238E27FC236}">
                <a16:creationId xmlns:a16="http://schemas.microsoft.com/office/drawing/2014/main" id="{6C744941-82E0-CEA2-F9D5-E0379AF6D6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00" y="5977438"/>
            <a:ext cx="10080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6" name="Diagramm-Platzhalter">
            <a:extLst>
              <a:ext uri="{FF2B5EF4-FFF2-40B4-BE49-F238E27FC236}">
                <a16:creationId xmlns:a16="http://schemas.microsoft.com/office/drawing/2014/main" id="{7E8C02E1-CF7B-07BE-376E-EF8C00087584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23392" y="1872000"/>
            <a:ext cx="10836000" cy="3924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2000" b="1" dirty="0">
                <a:solidFill>
                  <a:srgbClr val="FFFFFF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8" name="Diagramm-Untertitel">
            <a:extLst>
              <a:ext uri="{FF2B5EF4-FFF2-40B4-BE49-F238E27FC236}">
                <a16:creationId xmlns:a16="http://schemas.microsoft.com/office/drawing/2014/main" id="{611CB02D-5ED8-E5E7-A444-F8F15444D0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399449"/>
            <a:ext cx="11160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-Untertitel</a:t>
            </a:r>
          </a:p>
        </p:txBody>
      </p:sp>
      <p:sp>
        <p:nvSpPr>
          <p:cNvPr id="7" name="Diagramm-Titel">
            <a:extLst>
              <a:ext uri="{FF2B5EF4-FFF2-40B4-BE49-F238E27FC236}">
                <a16:creationId xmlns:a16="http://schemas.microsoft.com/office/drawing/2014/main" id="{CFF9721D-0547-88BE-1274-BDBC625D4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090901"/>
            <a:ext cx="11160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FF3EB5"/>
                </a:solidFill>
              </a:defRPr>
            </a:lvl1pPr>
          </a:lstStyle>
          <a:p>
            <a:pPr lvl="0"/>
            <a:r>
              <a:rPr lang="de-DE" noProof="0" dirty="0"/>
              <a:t>Diagramm-Titel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1AC391F8-146D-F152-51B5-8DC6548F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de-DE" dirty="0"/>
              <a:t>Titel der Diagramm-Folie</a:t>
            </a:r>
          </a:p>
        </p:txBody>
      </p:sp>
    </p:spTree>
    <p:extLst>
      <p:ext uri="{BB962C8B-B14F-4D97-AF65-F5344CB8AC3E}">
        <p14:creationId xmlns:p14="http://schemas.microsoft.com/office/powerpoint/2010/main" val="582749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| 1er /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-Hintergrund">
            <a:extLst>
              <a:ext uri="{FF2B5EF4-FFF2-40B4-BE49-F238E27FC236}">
                <a16:creationId xmlns:a16="http://schemas.microsoft.com/office/drawing/2014/main" id="{60E8DE59-30C6-918C-B248-262CD30BF6DC}"/>
              </a:ext>
            </a:extLst>
          </p:cNvPr>
          <p:cNvSpPr/>
          <p:nvPr userDrawn="1"/>
        </p:nvSpPr>
        <p:spPr>
          <a:xfrm>
            <a:off x="540000" y="1762183"/>
            <a:ext cx="11161240" cy="4176000"/>
          </a:xfrm>
          <a:custGeom>
            <a:avLst/>
            <a:gdLst>
              <a:gd name="connsiteX0" fmla="*/ 11161239 w 11161240"/>
              <a:gd name="connsiteY0" fmla="*/ 3635999 h 4176000"/>
              <a:gd name="connsiteX1" fmla="*/ 10261239 w 11161240"/>
              <a:gd name="connsiteY1" fmla="*/ 4158965 h 4176000"/>
              <a:gd name="connsiteX2" fmla="*/ 10261239 w 11161240"/>
              <a:gd name="connsiteY2" fmla="*/ 4175999 h 4176000"/>
              <a:gd name="connsiteX3" fmla="*/ 11161239 w 11161240"/>
              <a:gd name="connsiteY3" fmla="*/ 4175999 h 4176000"/>
              <a:gd name="connsiteX4" fmla="*/ 0 w 11161240"/>
              <a:gd name="connsiteY4" fmla="*/ 0 h 4176000"/>
              <a:gd name="connsiteX5" fmla="*/ 11161240 w 11161240"/>
              <a:gd name="connsiteY5" fmla="*/ 0 h 4176000"/>
              <a:gd name="connsiteX6" fmla="*/ 11161240 w 11161240"/>
              <a:gd name="connsiteY6" fmla="*/ 4176000 h 4176000"/>
              <a:gd name="connsiteX7" fmla="*/ 0 w 11161240"/>
              <a:gd name="connsiteY7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61240" h="4176000">
                <a:moveTo>
                  <a:pt x="11161239" y="3635999"/>
                </a:moveTo>
                <a:lnTo>
                  <a:pt x="10261239" y="4158965"/>
                </a:lnTo>
                <a:lnTo>
                  <a:pt x="10261239" y="4175999"/>
                </a:lnTo>
                <a:lnTo>
                  <a:pt x="11161239" y="4175999"/>
                </a:lnTo>
                <a:close/>
                <a:moveTo>
                  <a:pt x="0" y="0"/>
                </a:moveTo>
                <a:lnTo>
                  <a:pt x="11161240" y="0"/>
                </a:lnTo>
                <a:lnTo>
                  <a:pt x="1116124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A3876C8-256C-4B78-87E2-EFE9CDF6801F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Diagramm-Quelle">
            <a:extLst>
              <a:ext uri="{FF2B5EF4-FFF2-40B4-BE49-F238E27FC236}">
                <a16:creationId xmlns:a16="http://schemas.microsoft.com/office/drawing/2014/main" id="{6C744941-82E0-CEA2-F9D5-E0379AF6D6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00" y="5977438"/>
            <a:ext cx="10080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6" name="Diagramm-Platzhalter">
            <a:extLst>
              <a:ext uri="{FF2B5EF4-FFF2-40B4-BE49-F238E27FC236}">
                <a16:creationId xmlns:a16="http://schemas.microsoft.com/office/drawing/2014/main" id="{7E8C02E1-CF7B-07BE-376E-EF8C00087584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40000" y="1872000"/>
            <a:ext cx="11160000" cy="4032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2000" b="1" dirty="0">
                <a:solidFill>
                  <a:srgbClr val="10065A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8" name="Diagramm-Untertitel">
            <a:extLst>
              <a:ext uri="{FF2B5EF4-FFF2-40B4-BE49-F238E27FC236}">
                <a16:creationId xmlns:a16="http://schemas.microsoft.com/office/drawing/2014/main" id="{611CB02D-5ED8-E5E7-A444-F8F15444D0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399449"/>
            <a:ext cx="11160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-Untertitel</a:t>
            </a:r>
          </a:p>
        </p:txBody>
      </p:sp>
      <p:sp>
        <p:nvSpPr>
          <p:cNvPr id="7" name="Diagramm-Titel">
            <a:extLst>
              <a:ext uri="{FF2B5EF4-FFF2-40B4-BE49-F238E27FC236}">
                <a16:creationId xmlns:a16="http://schemas.microsoft.com/office/drawing/2014/main" id="{CFF9721D-0547-88BE-1274-BDBC625D4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090901"/>
            <a:ext cx="11160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10ADAA"/>
                </a:solidFill>
              </a:defRPr>
            </a:lvl1pPr>
          </a:lstStyle>
          <a:p>
            <a:pPr lvl="0"/>
            <a:r>
              <a:rPr lang="de-DE" noProof="0" dirty="0"/>
              <a:t>Diagramm-Titel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1AC391F8-146D-F152-51B5-8DC6548F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de-DE" dirty="0"/>
              <a:t>Titel der Diagramm-Folie</a:t>
            </a:r>
          </a:p>
        </p:txBody>
      </p:sp>
    </p:spTree>
    <p:extLst>
      <p:ext uri="{BB962C8B-B14F-4D97-AF65-F5344CB8AC3E}">
        <p14:creationId xmlns:p14="http://schemas.microsoft.com/office/powerpoint/2010/main" val="40226227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+ Text | 2:1 /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-Hintergrund">
            <a:extLst>
              <a:ext uri="{FF2B5EF4-FFF2-40B4-BE49-F238E27FC236}">
                <a16:creationId xmlns:a16="http://schemas.microsoft.com/office/drawing/2014/main" id="{E7C702FC-5BE2-DF76-7F4B-602618953183}"/>
              </a:ext>
            </a:extLst>
          </p:cNvPr>
          <p:cNvSpPr/>
          <p:nvPr userDrawn="1"/>
        </p:nvSpPr>
        <p:spPr>
          <a:xfrm>
            <a:off x="540000" y="1762183"/>
            <a:ext cx="7524000" cy="4176000"/>
          </a:xfrm>
          <a:custGeom>
            <a:avLst/>
            <a:gdLst>
              <a:gd name="connsiteX0" fmla="*/ 0 w 7560000"/>
              <a:gd name="connsiteY0" fmla="*/ 0 h 4176000"/>
              <a:gd name="connsiteX1" fmla="*/ 7560000 w 7560000"/>
              <a:gd name="connsiteY1" fmla="*/ 0 h 4176000"/>
              <a:gd name="connsiteX2" fmla="*/ 7560000 w 7560000"/>
              <a:gd name="connsiteY2" fmla="*/ 3657600 h 4176000"/>
              <a:gd name="connsiteX3" fmla="*/ 6696000 w 7560000"/>
              <a:gd name="connsiteY3" fmla="*/ 4159648 h 4176000"/>
              <a:gd name="connsiteX4" fmla="*/ 6696000 w 7560000"/>
              <a:gd name="connsiteY4" fmla="*/ 4176000 h 4176000"/>
              <a:gd name="connsiteX5" fmla="*/ 0 w 7560000"/>
              <a:gd name="connsiteY5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60000" h="4176000">
                <a:moveTo>
                  <a:pt x="0" y="0"/>
                </a:moveTo>
                <a:lnTo>
                  <a:pt x="7560000" y="0"/>
                </a:lnTo>
                <a:lnTo>
                  <a:pt x="7560000" y="3657600"/>
                </a:lnTo>
                <a:lnTo>
                  <a:pt x="6696000" y="4159648"/>
                </a:lnTo>
                <a:lnTo>
                  <a:pt x="669600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024F5B8-3E03-4DBF-9DBE-10EB96C6A30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1" name="Text-Platzhalter">
            <a:extLst>
              <a:ext uri="{FF2B5EF4-FFF2-40B4-BE49-F238E27FC236}">
                <a16:creationId xmlns:a16="http://schemas.microsoft.com/office/drawing/2014/main" id="{9C3A5A95-3264-844E-33E3-92060F1D0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244013" y="1762183"/>
            <a:ext cx="3455987" cy="4032000"/>
          </a:xfrm>
        </p:spPr>
        <p:txBody>
          <a:bodyPr/>
          <a:lstStyle>
            <a:lvl1pPr>
              <a:buClr>
                <a:srgbClr val="10065A"/>
              </a:buClr>
              <a:defRPr sz="2000"/>
            </a:lvl1pPr>
            <a:lvl2pPr>
              <a:defRPr sz="2000"/>
            </a:lvl2pPr>
            <a:lvl3pPr>
              <a:defRPr sz="2000"/>
            </a:lvl3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Diagramm-Quelle">
            <a:extLst>
              <a:ext uri="{FF2B5EF4-FFF2-40B4-BE49-F238E27FC236}">
                <a16:creationId xmlns:a16="http://schemas.microsoft.com/office/drawing/2014/main" id="{6C744941-82E0-CEA2-F9D5-E0379AF6D6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00" y="5977438"/>
            <a:ext cx="10080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6" name="Diagramm-Platzhalter">
            <a:extLst>
              <a:ext uri="{FF2B5EF4-FFF2-40B4-BE49-F238E27FC236}">
                <a16:creationId xmlns:a16="http://schemas.microsoft.com/office/drawing/2014/main" id="{7E8C02E1-CF7B-07BE-376E-EF8C00087584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23392" y="1872000"/>
            <a:ext cx="7272000" cy="3924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1800" b="1" dirty="0">
                <a:solidFill>
                  <a:srgbClr val="FFFFFF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8" name="Diagramm-Untertitel">
            <a:extLst>
              <a:ext uri="{FF2B5EF4-FFF2-40B4-BE49-F238E27FC236}">
                <a16:creationId xmlns:a16="http://schemas.microsoft.com/office/drawing/2014/main" id="{611CB02D-5ED8-E5E7-A444-F8F15444D0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399449"/>
            <a:ext cx="11160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-Untertitel</a:t>
            </a:r>
          </a:p>
        </p:txBody>
      </p:sp>
      <p:sp>
        <p:nvSpPr>
          <p:cNvPr id="7" name="Diagramm-Titel">
            <a:extLst>
              <a:ext uri="{FF2B5EF4-FFF2-40B4-BE49-F238E27FC236}">
                <a16:creationId xmlns:a16="http://schemas.microsoft.com/office/drawing/2014/main" id="{CFF9721D-0547-88BE-1274-BDBC625D4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090901"/>
            <a:ext cx="11160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FF3EB5"/>
                </a:solidFill>
              </a:defRPr>
            </a:lvl1pPr>
          </a:lstStyle>
          <a:p>
            <a:pPr lvl="0"/>
            <a:r>
              <a:rPr lang="de-DE" noProof="0" dirty="0"/>
              <a:t>Diagramm-Titel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1AC391F8-146D-F152-51B5-8DC6548F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de-DE" dirty="0"/>
              <a:t>Titel der Diagramm-Folie</a:t>
            </a:r>
          </a:p>
        </p:txBody>
      </p:sp>
    </p:spTree>
    <p:extLst>
      <p:ext uri="{BB962C8B-B14F-4D97-AF65-F5344CB8AC3E}">
        <p14:creationId xmlns:p14="http://schemas.microsoft.com/office/powerpoint/2010/main" val="33224683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+ Text | 2:1 /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-Hintergrund">
            <a:extLst>
              <a:ext uri="{FF2B5EF4-FFF2-40B4-BE49-F238E27FC236}">
                <a16:creationId xmlns:a16="http://schemas.microsoft.com/office/drawing/2014/main" id="{E7C702FC-5BE2-DF76-7F4B-602618953183}"/>
              </a:ext>
            </a:extLst>
          </p:cNvPr>
          <p:cNvSpPr/>
          <p:nvPr userDrawn="1"/>
        </p:nvSpPr>
        <p:spPr>
          <a:xfrm>
            <a:off x="540000" y="1762183"/>
            <a:ext cx="7524000" cy="4176000"/>
          </a:xfrm>
          <a:custGeom>
            <a:avLst/>
            <a:gdLst>
              <a:gd name="connsiteX0" fmla="*/ 0 w 7560000"/>
              <a:gd name="connsiteY0" fmla="*/ 0 h 4176000"/>
              <a:gd name="connsiteX1" fmla="*/ 7560000 w 7560000"/>
              <a:gd name="connsiteY1" fmla="*/ 0 h 4176000"/>
              <a:gd name="connsiteX2" fmla="*/ 7560000 w 7560000"/>
              <a:gd name="connsiteY2" fmla="*/ 3657600 h 4176000"/>
              <a:gd name="connsiteX3" fmla="*/ 6696000 w 7560000"/>
              <a:gd name="connsiteY3" fmla="*/ 4159648 h 4176000"/>
              <a:gd name="connsiteX4" fmla="*/ 6696000 w 7560000"/>
              <a:gd name="connsiteY4" fmla="*/ 4176000 h 4176000"/>
              <a:gd name="connsiteX5" fmla="*/ 0 w 7560000"/>
              <a:gd name="connsiteY5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60000" h="4176000">
                <a:moveTo>
                  <a:pt x="0" y="0"/>
                </a:moveTo>
                <a:lnTo>
                  <a:pt x="7560000" y="0"/>
                </a:lnTo>
                <a:lnTo>
                  <a:pt x="7560000" y="3657600"/>
                </a:lnTo>
                <a:lnTo>
                  <a:pt x="6696000" y="4159648"/>
                </a:lnTo>
                <a:lnTo>
                  <a:pt x="669600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E1F231C-8505-43CB-A54B-5D9AF106BF9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1" name="Text-Platzhalter">
            <a:extLst>
              <a:ext uri="{FF2B5EF4-FFF2-40B4-BE49-F238E27FC236}">
                <a16:creationId xmlns:a16="http://schemas.microsoft.com/office/drawing/2014/main" id="{9C3A5A95-3264-844E-33E3-92060F1D0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244013" y="1762183"/>
            <a:ext cx="3455987" cy="4032000"/>
          </a:xfrm>
        </p:spPr>
        <p:txBody>
          <a:bodyPr/>
          <a:lstStyle>
            <a:lvl1pPr>
              <a:buClr>
                <a:srgbClr val="10065A"/>
              </a:buClr>
              <a:defRPr sz="2000"/>
            </a:lvl1pPr>
            <a:lvl2pPr>
              <a:defRPr sz="2000"/>
            </a:lvl2pPr>
            <a:lvl3pPr>
              <a:defRPr sz="2000"/>
            </a:lvl3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Diagramm-Quelle">
            <a:extLst>
              <a:ext uri="{FF2B5EF4-FFF2-40B4-BE49-F238E27FC236}">
                <a16:creationId xmlns:a16="http://schemas.microsoft.com/office/drawing/2014/main" id="{6C744941-82E0-CEA2-F9D5-E0379AF6D6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00" y="5977438"/>
            <a:ext cx="10080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6" name="Diagramm-Platzhalter">
            <a:extLst>
              <a:ext uri="{FF2B5EF4-FFF2-40B4-BE49-F238E27FC236}">
                <a16:creationId xmlns:a16="http://schemas.microsoft.com/office/drawing/2014/main" id="{7E8C02E1-CF7B-07BE-376E-EF8C00087584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23392" y="1872000"/>
            <a:ext cx="7272000" cy="3924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1800" b="1" dirty="0">
                <a:solidFill>
                  <a:srgbClr val="10065A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8" name="Diagramm-Untertitel">
            <a:extLst>
              <a:ext uri="{FF2B5EF4-FFF2-40B4-BE49-F238E27FC236}">
                <a16:creationId xmlns:a16="http://schemas.microsoft.com/office/drawing/2014/main" id="{611CB02D-5ED8-E5E7-A444-F8F15444D0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399449"/>
            <a:ext cx="11160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-Untertitel</a:t>
            </a:r>
          </a:p>
        </p:txBody>
      </p:sp>
      <p:sp>
        <p:nvSpPr>
          <p:cNvPr id="7" name="Diagramm-Titel">
            <a:extLst>
              <a:ext uri="{FF2B5EF4-FFF2-40B4-BE49-F238E27FC236}">
                <a16:creationId xmlns:a16="http://schemas.microsoft.com/office/drawing/2014/main" id="{CFF9721D-0547-88BE-1274-BDBC625D4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090901"/>
            <a:ext cx="11160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10ADAA"/>
                </a:solidFill>
              </a:defRPr>
            </a:lvl1pPr>
          </a:lstStyle>
          <a:p>
            <a:pPr lvl="0"/>
            <a:r>
              <a:rPr lang="de-DE" noProof="0" dirty="0"/>
              <a:t>Diagramm-Titel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1AC391F8-146D-F152-51B5-8DC6548F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de-DE" dirty="0"/>
              <a:t>Titel der Diagramm-Folie</a:t>
            </a:r>
          </a:p>
        </p:txBody>
      </p:sp>
    </p:spTree>
    <p:extLst>
      <p:ext uri="{BB962C8B-B14F-4D97-AF65-F5344CB8AC3E}">
        <p14:creationId xmlns:p14="http://schemas.microsoft.com/office/powerpoint/2010/main" val="1694353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+ Bild | 2:1 /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-Hintergrund">
            <a:extLst>
              <a:ext uri="{FF2B5EF4-FFF2-40B4-BE49-F238E27FC236}">
                <a16:creationId xmlns:a16="http://schemas.microsoft.com/office/drawing/2014/main" id="{E7C702FC-5BE2-DF76-7F4B-602618953183}"/>
              </a:ext>
            </a:extLst>
          </p:cNvPr>
          <p:cNvSpPr/>
          <p:nvPr userDrawn="1"/>
        </p:nvSpPr>
        <p:spPr>
          <a:xfrm>
            <a:off x="540000" y="1762183"/>
            <a:ext cx="7524000" cy="4176000"/>
          </a:xfrm>
          <a:custGeom>
            <a:avLst/>
            <a:gdLst>
              <a:gd name="connsiteX0" fmla="*/ 0 w 7560000"/>
              <a:gd name="connsiteY0" fmla="*/ 0 h 4176000"/>
              <a:gd name="connsiteX1" fmla="*/ 7560000 w 7560000"/>
              <a:gd name="connsiteY1" fmla="*/ 0 h 4176000"/>
              <a:gd name="connsiteX2" fmla="*/ 7560000 w 7560000"/>
              <a:gd name="connsiteY2" fmla="*/ 3657600 h 4176000"/>
              <a:gd name="connsiteX3" fmla="*/ 6696000 w 7560000"/>
              <a:gd name="connsiteY3" fmla="*/ 4159648 h 4176000"/>
              <a:gd name="connsiteX4" fmla="*/ 6696000 w 7560000"/>
              <a:gd name="connsiteY4" fmla="*/ 4176000 h 4176000"/>
              <a:gd name="connsiteX5" fmla="*/ 0 w 7560000"/>
              <a:gd name="connsiteY5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60000" h="4176000">
                <a:moveTo>
                  <a:pt x="0" y="0"/>
                </a:moveTo>
                <a:lnTo>
                  <a:pt x="7560000" y="0"/>
                </a:lnTo>
                <a:lnTo>
                  <a:pt x="7560000" y="3657600"/>
                </a:lnTo>
                <a:lnTo>
                  <a:pt x="6696000" y="4159648"/>
                </a:lnTo>
                <a:lnTo>
                  <a:pt x="669600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524F2EB-D46F-401C-8085-9C623B339C5B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9" name="Bild-Platzhalter">
            <a:extLst>
              <a:ext uri="{FF2B5EF4-FFF2-40B4-BE49-F238E27FC236}">
                <a16:creationId xmlns:a16="http://schemas.microsoft.com/office/drawing/2014/main" id="{5F4BA78C-4EF0-14FB-183B-A653567EE235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142041" y="1762182"/>
            <a:ext cx="3570534" cy="3636000"/>
          </a:xfrm>
          <a:solidFill>
            <a:srgbClr val="F0F3F7"/>
          </a:solidFill>
        </p:spPr>
        <p:txBody>
          <a:bodyPr tIns="0" bIns="540000" anchor="ctr" anchorCtr="1"/>
          <a:lstStyle>
            <a:lvl1pPr marL="0" indent="0">
              <a:buNone/>
              <a:defRPr/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84A978D3-4BE4-1091-75C3-ED5681B0C8E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42041" y="5403110"/>
            <a:ext cx="360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10065A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0" name="Diagramm-Quelle">
            <a:extLst>
              <a:ext uri="{FF2B5EF4-FFF2-40B4-BE49-F238E27FC236}">
                <a16:creationId xmlns:a16="http://schemas.microsoft.com/office/drawing/2014/main" id="{6C744941-82E0-CEA2-F9D5-E0379AF6D6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00" y="5977438"/>
            <a:ext cx="10080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6" name="Diagramm-Platzhalter">
            <a:extLst>
              <a:ext uri="{FF2B5EF4-FFF2-40B4-BE49-F238E27FC236}">
                <a16:creationId xmlns:a16="http://schemas.microsoft.com/office/drawing/2014/main" id="{7E8C02E1-CF7B-07BE-376E-EF8C00087584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23392" y="1872000"/>
            <a:ext cx="7272000" cy="3924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1800" b="1" dirty="0">
                <a:solidFill>
                  <a:srgbClr val="FFFFFF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8" name="Diagramm-Untertitel">
            <a:extLst>
              <a:ext uri="{FF2B5EF4-FFF2-40B4-BE49-F238E27FC236}">
                <a16:creationId xmlns:a16="http://schemas.microsoft.com/office/drawing/2014/main" id="{611CB02D-5ED8-E5E7-A444-F8F15444D0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399449"/>
            <a:ext cx="11160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-Untertitel</a:t>
            </a:r>
          </a:p>
        </p:txBody>
      </p:sp>
      <p:sp>
        <p:nvSpPr>
          <p:cNvPr id="7" name="Diagramm-Titel">
            <a:extLst>
              <a:ext uri="{FF2B5EF4-FFF2-40B4-BE49-F238E27FC236}">
                <a16:creationId xmlns:a16="http://schemas.microsoft.com/office/drawing/2014/main" id="{CFF9721D-0547-88BE-1274-BDBC625D4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090901"/>
            <a:ext cx="11160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FF3EB5"/>
                </a:solidFill>
              </a:defRPr>
            </a:lvl1pPr>
          </a:lstStyle>
          <a:p>
            <a:pPr lvl="0"/>
            <a:r>
              <a:rPr lang="de-DE" noProof="0" dirty="0"/>
              <a:t>Diagramm-Titel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1AC391F8-146D-F152-51B5-8DC6548F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de-DE" dirty="0"/>
              <a:t>Titel der Diagramm-Folie</a:t>
            </a:r>
          </a:p>
        </p:txBody>
      </p:sp>
    </p:spTree>
    <p:extLst>
      <p:ext uri="{BB962C8B-B14F-4D97-AF65-F5344CB8AC3E}">
        <p14:creationId xmlns:p14="http://schemas.microsoft.com/office/powerpoint/2010/main" val="1410206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+ Bild | 2:1 /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-Hintergrund">
            <a:extLst>
              <a:ext uri="{FF2B5EF4-FFF2-40B4-BE49-F238E27FC236}">
                <a16:creationId xmlns:a16="http://schemas.microsoft.com/office/drawing/2014/main" id="{E7C702FC-5BE2-DF76-7F4B-602618953183}"/>
              </a:ext>
            </a:extLst>
          </p:cNvPr>
          <p:cNvSpPr/>
          <p:nvPr userDrawn="1"/>
        </p:nvSpPr>
        <p:spPr>
          <a:xfrm>
            <a:off x="540000" y="1762183"/>
            <a:ext cx="7524000" cy="4176000"/>
          </a:xfrm>
          <a:custGeom>
            <a:avLst/>
            <a:gdLst>
              <a:gd name="connsiteX0" fmla="*/ 0 w 7560000"/>
              <a:gd name="connsiteY0" fmla="*/ 0 h 4176000"/>
              <a:gd name="connsiteX1" fmla="*/ 7560000 w 7560000"/>
              <a:gd name="connsiteY1" fmla="*/ 0 h 4176000"/>
              <a:gd name="connsiteX2" fmla="*/ 7560000 w 7560000"/>
              <a:gd name="connsiteY2" fmla="*/ 3657600 h 4176000"/>
              <a:gd name="connsiteX3" fmla="*/ 6696000 w 7560000"/>
              <a:gd name="connsiteY3" fmla="*/ 4159648 h 4176000"/>
              <a:gd name="connsiteX4" fmla="*/ 6696000 w 7560000"/>
              <a:gd name="connsiteY4" fmla="*/ 4176000 h 4176000"/>
              <a:gd name="connsiteX5" fmla="*/ 0 w 7560000"/>
              <a:gd name="connsiteY5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60000" h="4176000">
                <a:moveTo>
                  <a:pt x="0" y="0"/>
                </a:moveTo>
                <a:lnTo>
                  <a:pt x="7560000" y="0"/>
                </a:lnTo>
                <a:lnTo>
                  <a:pt x="7560000" y="3657600"/>
                </a:lnTo>
                <a:lnTo>
                  <a:pt x="6696000" y="4159648"/>
                </a:lnTo>
                <a:lnTo>
                  <a:pt x="669600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461A856-6F0B-436C-81C1-1C00CC0BD99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9" name="Bild-Platzhalter">
            <a:extLst>
              <a:ext uri="{FF2B5EF4-FFF2-40B4-BE49-F238E27FC236}">
                <a16:creationId xmlns:a16="http://schemas.microsoft.com/office/drawing/2014/main" id="{5F4BA78C-4EF0-14FB-183B-A653567EE235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142041" y="1762182"/>
            <a:ext cx="3570534" cy="3636000"/>
          </a:xfrm>
          <a:solidFill>
            <a:srgbClr val="F0F3F7"/>
          </a:solidFill>
        </p:spPr>
        <p:txBody>
          <a:bodyPr tIns="0" bIns="540000" anchor="ctr" anchorCtr="1"/>
          <a:lstStyle>
            <a:lvl1pPr marL="0" indent="0">
              <a:buNone/>
              <a:defRPr/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10" name="Diagramm-Quelle">
            <a:extLst>
              <a:ext uri="{FF2B5EF4-FFF2-40B4-BE49-F238E27FC236}">
                <a16:creationId xmlns:a16="http://schemas.microsoft.com/office/drawing/2014/main" id="{6C744941-82E0-CEA2-F9D5-E0379AF6D6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00" y="5977438"/>
            <a:ext cx="10080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6" name="Diagramm-Platzhalter">
            <a:extLst>
              <a:ext uri="{FF2B5EF4-FFF2-40B4-BE49-F238E27FC236}">
                <a16:creationId xmlns:a16="http://schemas.microsoft.com/office/drawing/2014/main" id="{7E8C02E1-CF7B-07BE-376E-EF8C00087584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23392" y="1872000"/>
            <a:ext cx="7272000" cy="3924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1800" b="1" dirty="0">
                <a:solidFill>
                  <a:srgbClr val="10065A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8" name="Diagramm-Untertitel">
            <a:extLst>
              <a:ext uri="{FF2B5EF4-FFF2-40B4-BE49-F238E27FC236}">
                <a16:creationId xmlns:a16="http://schemas.microsoft.com/office/drawing/2014/main" id="{611CB02D-5ED8-E5E7-A444-F8F15444D0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399449"/>
            <a:ext cx="11160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-Untertitel</a:t>
            </a:r>
          </a:p>
        </p:txBody>
      </p:sp>
      <p:sp>
        <p:nvSpPr>
          <p:cNvPr id="7" name="Diagramm-Titel">
            <a:extLst>
              <a:ext uri="{FF2B5EF4-FFF2-40B4-BE49-F238E27FC236}">
                <a16:creationId xmlns:a16="http://schemas.microsoft.com/office/drawing/2014/main" id="{CFF9721D-0547-88BE-1274-BDBC625D4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090901"/>
            <a:ext cx="11160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10ADAA"/>
                </a:solidFill>
              </a:defRPr>
            </a:lvl1pPr>
          </a:lstStyle>
          <a:p>
            <a:pPr lvl="0"/>
            <a:r>
              <a:rPr lang="de-DE" noProof="0" dirty="0"/>
              <a:t>Diagramm-Titel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1AC391F8-146D-F152-51B5-8DC6548F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de-DE" dirty="0"/>
              <a:t>Titel der Diagramm-Folie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66CB1421-04CF-4245-C1C3-6045DA9C575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42041" y="5403110"/>
            <a:ext cx="360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10065A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581763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| 2er /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-Hintergrund2">
            <a:extLst>
              <a:ext uri="{FF2B5EF4-FFF2-40B4-BE49-F238E27FC236}">
                <a16:creationId xmlns:a16="http://schemas.microsoft.com/office/drawing/2014/main" id="{4F3649A3-7EE8-5342-A011-4DFB307DE948}"/>
              </a:ext>
            </a:extLst>
          </p:cNvPr>
          <p:cNvSpPr/>
          <p:nvPr userDrawn="1"/>
        </p:nvSpPr>
        <p:spPr>
          <a:xfrm>
            <a:off x="6197825" y="1762183"/>
            <a:ext cx="5508000" cy="4176000"/>
          </a:xfrm>
          <a:custGeom>
            <a:avLst/>
            <a:gdLst>
              <a:gd name="connsiteX0" fmla="*/ 0 w 5508000"/>
              <a:gd name="connsiteY0" fmla="*/ 0 h 4176000"/>
              <a:gd name="connsiteX1" fmla="*/ 5508000 w 5508000"/>
              <a:gd name="connsiteY1" fmla="*/ 0 h 4176000"/>
              <a:gd name="connsiteX2" fmla="*/ 5508000 w 5508000"/>
              <a:gd name="connsiteY2" fmla="*/ 3672000 h 4176000"/>
              <a:gd name="connsiteX3" fmla="*/ 4668000 w 5508000"/>
              <a:gd name="connsiteY3" fmla="*/ 4160102 h 4176000"/>
              <a:gd name="connsiteX4" fmla="*/ 4668000 w 5508000"/>
              <a:gd name="connsiteY4" fmla="*/ 4176000 h 4176000"/>
              <a:gd name="connsiteX5" fmla="*/ 0 w 5508000"/>
              <a:gd name="connsiteY5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08000" h="4176000">
                <a:moveTo>
                  <a:pt x="0" y="0"/>
                </a:moveTo>
                <a:lnTo>
                  <a:pt x="5508000" y="0"/>
                </a:lnTo>
                <a:lnTo>
                  <a:pt x="5508000" y="3672000"/>
                </a:lnTo>
                <a:lnTo>
                  <a:pt x="4668000" y="4160102"/>
                </a:lnTo>
                <a:lnTo>
                  <a:pt x="466800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14" name="Diagramm-Hintergrund1">
            <a:extLst>
              <a:ext uri="{FF2B5EF4-FFF2-40B4-BE49-F238E27FC236}">
                <a16:creationId xmlns:a16="http://schemas.microsoft.com/office/drawing/2014/main" id="{FA39207E-2CD0-54FD-E6A4-E471023DAC9C}"/>
              </a:ext>
            </a:extLst>
          </p:cNvPr>
          <p:cNvSpPr/>
          <p:nvPr userDrawn="1"/>
        </p:nvSpPr>
        <p:spPr>
          <a:xfrm>
            <a:off x="540000" y="1762183"/>
            <a:ext cx="5508000" cy="4176000"/>
          </a:xfrm>
          <a:custGeom>
            <a:avLst/>
            <a:gdLst>
              <a:gd name="connsiteX0" fmla="*/ 0 w 5508000"/>
              <a:gd name="connsiteY0" fmla="*/ 0 h 4176000"/>
              <a:gd name="connsiteX1" fmla="*/ 5508000 w 5508000"/>
              <a:gd name="connsiteY1" fmla="*/ 0 h 4176000"/>
              <a:gd name="connsiteX2" fmla="*/ 5508000 w 5508000"/>
              <a:gd name="connsiteY2" fmla="*/ 3672000 h 4176000"/>
              <a:gd name="connsiteX3" fmla="*/ 4668000 w 5508000"/>
              <a:gd name="connsiteY3" fmla="*/ 4160102 h 4176000"/>
              <a:gd name="connsiteX4" fmla="*/ 4668000 w 5508000"/>
              <a:gd name="connsiteY4" fmla="*/ 4176000 h 4176000"/>
              <a:gd name="connsiteX5" fmla="*/ 0 w 5508000"/>
              <a:gd name="connsiteY5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08000" h="4176000">
                <a:moveTo>
                  <a:pt x="0" y="0"/>
                </a:moveTo>
                <a:lnTo>
                  <a:pt x="5508000" y="0"/>
                </a:lnTo>
                <a:lnTo>
                  <a:pt x="5508000" y="3672000"/>
                </a:lnTo>
                <a:lnTo>
                  <a:pt x="4668000" y="4160102"/>
                </a:lnTo>
                <a:lnTo>
                  <a:pt x="466800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8F55D06-8280-4D12-B083-2E516ED4863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3" name="Diagramm-Quelle2">
            <a:extLst>
              <a:ext uri="{FF2B5EF4-FFF2-40B4-BE49-F238E27FC236}">
                <a16:creationId xmlns:a16="http://schemas.microsoft.com/office/drawing/2014/main" id="{E57BB12F-CFB3-9722-EE8F-50F8DCA0A7E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97825" y="5977438"/>
            <a:ext cx="4644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9" name="Diagramm-Platzhalter2">
            <a:extLst>
              <a:ext uri="{FF2B5EF4-FFF2-40B4-BE49-F238E27FC236}">
                <a16:creationId xmlns:a16="http://schemas.microsoft.com/office/drawing/2014/main" id="{F5634D1F-F163-B778-37D9-6348A662720F}"/>
              </a:ext>
            </a:extLst>
          </p:cNvPr>
          <p:cNvSpPr>
            <a:spLocks noGrp="1"/>
          </p:cNvSpPr>
          <p:nvPr>
            <p:ph type="chart" sz="quarter" idx="41" hasCustomPrompt="1"/>
          </p:nvPr>
        </p:nvSpPr>
        <p:spPr>
          <a:xfrm>
            <a:off x="6281217" y="1872000"/>
            <a:ext cx="5292000" cy="3924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1800" b="1" dirty="0">
                <a:solidFill>
                  <a:srgbClr val="FFFFFF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11" name="Diagramm-Untertitel2">
            <a:extLst>
              <a:ext uri="{FF2B5EF4-FFF2-40B4-BE49-F238E27FC236}">
                <a16:creationId xmlns:a16="http://schemas.microsoft.com/office/drawing/2014/main" id="{B8BC0DBA-415B-3834-EBBA-9EC131AC1FF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97825" y="1399449"/>
            <a:ext cx="5508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 2-Untertitel</a:t>
            </a:r>
          </a:p>
        </p:txBody>
      </p:sp>
      <p:sp>
        <p:nvSpPr>
          <p:cNvPr id="12" name="Diagramm-Titel2">
            <a:extLst>
              <a:ext uri="{FF2B5EF4-FFF2-40B4-BE49-F238E27FC236}">
                <a16:creationId xmlns:a16="http://schemas.microsoft.com/office/drawing/2014/main" id="{CA3C2690-22CD-29D8-89E0-669E219C720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97825" y="1090901"/>
            <a:ext cx="5508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FF3EB5"/>
                </a:solidFill>
              </a:defRPr>
            </a:lvl1pPr>
          </a:lstStyle>
          <a:p>
            <a:pPr lvl="0"/>
            <a:r>
              <a:rPr lang="de-DE" noProof="0" dirty="0"/>
              <a:t>Diagramm 2-Titel</a:t>
            </a:r>
          </a:p>
        </p:txBody>
      </p:sp>
      <p:sp>
        <p:nvSpPr>
          <p:cNvPr id="10" name="Diagramm-Quelle">
            <a:extLst>
              <a:ext uri="{FF2B5EF4-FFF2-40B4-BE49-F238E27FC236}">
                <a16:creationId xmlns:a16="http://schemas.microsoft.com/office/drawing/2014/main" id="{6C744941-82E0-CEA2-F9D5-E0379AF6D6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00" y="5977438"/>
            <a:ext cx="4644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6" name="Diagramm-Platzhalter">
            <a:extLst>
              <a:ext uri="{FF2B5EF4-FFF2-40B4-BE49-F238E27FC236}">
                <a16:creationId xmlns:a16="http://schemas.microsoft.com/office/drawing/2014/main" id="{7E8C02E1-CF7B-07BE-376E-EF8C00087584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23392" y="1872000"/>
            <a:ext cx="5292000" cy="3924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1800" b="1" dirty="0">
                <a:solidFill>
                  <a:srgbClr val="FFFFFF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8" name="Diagramm-Untertitel">
            <a:extLst>
              <a:ext uri="{FF2B5EF4-FFF2-40B4-BE49-F238E27FC236}">
                <a16:creationId xmlns:a16="http://schemas.microsoft.com/office/drawing/2014/main" id="{611CB02D-5ED8-E5E7-A444-F8F15444D0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399449"/>
            <a:ext cx="5508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 1-Untertitel</a:t>
            </a:r>
          </a:p>
        </p:txBody>
      </p:sp>
      <p:sp>
        <p:nvSpPr>
          <p:cNvPr id="7" name="Diagramm-Titel">
            <a:extLst>
              <a:ext uri="{FF2B5EF4-FFF2-40B4-BE49-F238E27FC236}">
                <a16:creationId xmlns:a16="http://schemas.microsoft.com/office/drawing/2014/main" id="{CFF9721D-0547-88BE-1274-BDBC625D4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090901"/>
            <a:ext cx="5508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FF3EB5"/>
                </a:solidFill>
              </a:defRPr>
            </a:lvl1pPr>
          </a:lstStyle>
          <a:p>
            <a:pPr lvl="0"/>
            <a:r>
              <a:rPr lang="de-DE" noProof="0" dirty="0"/>
              <a:t>Diagramm 1-Titel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1AC391F8-146D-F152-51B5-8DC6548F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de-DE" dirty="0"/>
              <a:t>Titel der Diagramm-Folie</a:t>
            </a:r>
          </a:p>
        </p:txBody>
      </p:sp>
    </p:spTree>
    <p:extLst>
      <p:ext uri="{BB962C8B-B14F-4D97-AF65-F5344CB8AC3E}">
        <p14:creationId xmlns:p14="http://schemas.microsoft.com/office/powerpoint/2010/main" val="35545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| 2er /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-Hintergrund2">
            <a:extLst>
              <a:ext uri="{FF2B5EF4-FFF2-40B4-BE49-F238E27FC236}">
                <a16:creationId xmlns:a16="http://schemas.microsoft.com/office/drawing/2014/main" id="{4F3649A3-7EE8-5342-A011-4DFB307DE948}"/>
              </a:ext>
            </a:extLst>
          </p:cNvPr>
          <p:cNvSpPr/>
          <p:nvPr userDrawn="1"/>
        </p:nvSpPr>
        <p:spPr>
          <a:xfrm>
            <a:off x="6197825" y="1762183"/>
            <a:ext cx="5508000" cy="4176000"/>
          </a:xfrm>
          <a:custGeom>
            <a:avLst/>
            <a:gdLst>
              <a:gd name="connsiteX0" fmla="*/ 0 w 5508000"/>
              <a:gd name="connsiteY0" fmla="*/ 0 h 4176000"/>
              <a:gd name="connsiteX1" fmla="*/ 5508000 w 5508000"/>
              <a:gd name="connsiteY1" fmla="*/ 0 h 4176000"/>
              <a:gd name="connsiteX2" fmla="*/ 5508000 w 5508000"/>
              <a:gd name="connsiteY2" fmla="*/ 3672000 h 4176000"/>
              <a:gd name="connsiteX3" fmla="*/ 4668000 w 5508000"/>
              <a:gd name="connsiteY3" fmla="*/ 4160102 h 4176000"/>
              <a:gd name="connsiteX4" fmla="*/ 4668000 w 5508000"/>
              <a:gd name="connsiteY4" fmla="*/ 4176000 h 4176000"/>
              <a:gd name="connsiteX5" fmla="*/ 0 w 5508000"/>
              <a:gd name="connsiteY5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08000" h="4176000">
                <a:moveTo>
                  <a:pt x="0" y="0"/>
                </a:moveTo>
                <a:lnTo>
                  <a:pt x="5508000" y="0"/>
                </a:lnTo>
                <a:lnTo>
                  <a:pt x="5508000" y="3672000"/>
                </a:lnTo>
                <a:lnTo>
                  <a:pt x="4668000" y="4160102"/>
                </a:lnTo>
                <a:lnTo>
                  <a:pt x="466800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14" name="Diagramm-Hintergrund1">
            <a:extLst>
              <a:ext uri="{FF2B5EF4-FFF2-40B4-BE49-F238E27FC236}">
                <a16:creationId xmlns:a16="http://schemas.microsoft.com/office/drawing/2014/main" id="{FA39207E-2CD0-54FD-E6A4-E471023DAC9C}"/>
              </a:ext>
            </a:extLst>
          </p:cNvPr>
          <p:cNvSpPr/>
          <p:nvPr userDrawn="1"/>
        </p:nvSpPr>
        <p:spPr>
          <a:xfrm>
            <a:off x="540000" y="1762183"/>
            <a:ext cx="5508000" cy="4176000"/>
          </a:xfrm>
          <a:custGeom>
            <a:avLst/>
            <a:gdLst>
              <a:gd name="connsiteX0" fmla="*/ 0 w 5508000"/>
              <a:gd name="connsiteY0" fmla="*/ 0 h 4176000"/>
              <a:gd name="connsiteX1" fmla="*/ 5508000 w 5508000"/>
              <a:gd name="connsiteY1" fmla="*/ 0 h 4176000"/>
              <a:gd name="connsiteX2" fmla="*/ 5508000 w 5508000"/>
              <a:gd name="connsiteY2" fmla="*/ 3672000 h 4176000"/>
              <a:gd name="connsiteX3" fmla="*/ 4668000 w 5508000"/>
              <a:gd name="connsiteY3" fmla="*/ 4160102 h 4176000"/>
              <a:gd name="connsiteX4" fmla="*/ 4668000 w 5508000"/>
              <a:gd name="connsiteY4" fmla="*/ 4176000 h 4176000"/>
              <a:gd name="connsiteX5" fmla="*/ 0 w 5508000"/>
              <a:gd name="connsiteY5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08000" h="4176000">
                <a:moveTo>
                  <a:pt x="0" y="0"/>
                </a:moveTo>
                <a:lnTo>
                  <a:pt x="5508000" y="0"/>
                </a:lnTo>
                <a:lnTo>
                  <a:pt x="5508000" y="3672000"/>
                </a:lnTo>
                <a:lnTo>
                  <a:pt x="4668000" y="4160102"/>
                </a:lnTo>
                <a:lnTo>
                  <a:pt x="466800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560B680-5A1D-4F7B-9EDE-ACC2ABFE7F2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3" name="Diagramm-Quelle2">
            <a:extLst>
              <a:ext uri="{FF2B5EF4-FFF2-40B4-BE49-F238E27FC236}">
                <a16:creationId xmlns:a16="http://schemas.microsoft.com/office/drawing/2014/main" id="{E57BB12F-CFB3-9722-EE8F-50F8DCA0A7E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97825" y="5977438"/>
            <a:ext cx="4644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9" name="Diagramm-Platzhalter2">
            <a:extLst>
              <a:ext uri="{FF2B5EF4-FFF2-40B4-BE49-F238E27FC236}">
                <a16:creationId xmlns:a16="http://schemas.microsoft.com/office/drawing/2014/main" id="{F5634D1F-F163-B778-37D9-6348A662720F}"/>
              </a:ext>
            </a:extLst>
          </p:cNvPr>
          <p:cNvSpPr>
            <a:spLocks noGrp="1"/>
          </p:cNvSpPr>
          <p:nvPr>
            <p:ph type="chart" sz="quarter" idx="41" hasCustomPrompt="1"/>
          </p:nvPr>
        </p:nvSpPr>
        <p:spPr>
          <a:xfrm>
            <a:off x="6281217" y="1872000"/>
            <a:ext cx="5292000" cy="3924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1800" b="1" dirty="0">
                <a:solidFill>
                  <a:srgbClr val="10065A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11" name="Diagramm-Untertitel2">
            <a:extLst>
              <a:ext uri="{FF2B5EF4-FFF2-40B4-BE49-F238E27FC236}">
                <a16:creationId xmlns:a16="http://schemas.microsoft.com/office/drawing/2014/main" id="{B8BC0DBA-415B-3834-EBBA-9EC131AC1FF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97825" y="1399449"/>
            <a:ext cx="5508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 2-Untertitel</a:t>
            </a:r>
          </a:p>
        </p:txBody>
      </p:sp>
      <p:sp>
        <p:nvSpPr>
          <p:cNvPr id="12" name="Diagramm-Titel2">
            <a:extLst>
              <a:ext uri="{FF2B5EF4-FFF2-40B4-BE49-F238E27FC236}">
                <a16:creationId xmlns:a16="http://schemas.microsoft.com/office/drawing/2014/main" id="{CA3C2690-22CD-29D8-89E0-669E219C720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97825" y="1090901"/>
            <a:ext cx="5508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10ADAA"/>
                </a:solidFill>
              </a:defRPr>
            </a:lvl1pPr>
          </a:lstStyle>
          <a:p>
            <a:pPr lvl="0"/>
            <a:r>
              <a:rPr lang="de-DE" noProof="0" dirty="0"/>
              <a:t>Diagramm 2-Titel</a:t>
            </a:r>
          </a:p>
        </p:txBody>
      </p:sp>
      <p:sp>
        <p:nvSpPr>
          <p:cNvPr id="10" name="Diagramm-Quelle">
            <a:extLst>
              <a:ext uri="{FF2B5EF4-FFF2-40B4-BE49-F238E27FC236}">
                <a16:creationId xmlns:a16="http://schemas.microsoft.com/office/drawing/2014/main" id="{6C744941-82E0-CEA2-F9D5-E0379AF6D6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00" y="5977438"/>
            <a:ext cx="4644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6" name="Diagramm-Platzhalter">
            <a:extLst>
              <a:ext uri="{FF2B5EF4-FFF2-40B4-BE49-F238E27FC236}">
                <a16:creationId xmlns:a16="http://schemas.microsoft.com/office/drawing/2014/main" id="{7E8C02E1-CF7B-07BE-376E-EF8C00087584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23392" y="1872000"/>
            <a:ext cx="5292000" cy="3924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1800" b="1" dirty="0">
                <a:solidFill>
                  <a:srgbClr val="10065A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8" name="Diagramm-Untertitel">
            <a:extLst>
              <a:ext uri="{FF2B5EF4-FFF2-40B4-BE49-F238E27FC236}">
                <a16:creationId xmlns:a16="http://schemas.microsoft.com/office/drawing/2014/main" id="{611CB02D-5ED8-E5E7-A444-F8F15444D0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399449"/>
            <a:ext cx="5508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 1-Untertitel</a:t>
            </a:r>
          </a:p>
        </p:txBody>
      </p:sp>
      <p:sp>
        <p:nvSpPr>
          <p:cNvPr id="7" name="Diagramm-Titel">
            <a:extLst>
              <a:ext uri="{FF2B5EF4-FFF2-40B4-BE49-F238E27FC236}">
                <a16:creationId xmlns:a16="http://schemas.microsoft.com/office/drawing/2014/main" id="{CFF9721D-0547-88BE-1274-BDBC625D4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090901"/>
            <a:ext cx="5508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10ADAA"/>
                </a:solidFill>
              </a:defRPr>
            </a:lvl1pPr>
          </a:lstStyle>
          <a:p>
            <a:pPr lvl="0"/>
            <a:r>
              <a:rPr lang="de-DE" noProof="0" dirty="0"/>
              <a:t>Diagramm 1-Titel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1AC391F8-146D-F152-51B5-8DC6548F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de-DE" dirty="0"/>
              <a:t>Titel der Diagramm-Folie</a:t>
            </a:r>
          </a:p>
        </p:txBody>
      </p:sp>
    </p:spTree>
    <p:extLst>
      <p:ext uri="{BB962C8B-B14F-4D97-AF65-F5344CB8AC3E}">
        <p14:creationId xmlns:p14="http://schemas.microsoft.com/office/powerpoint/2010/main" val="1067799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+ Inhalt | 1:1 /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-Hintergrund">
            <a:extLst>
              <a:ext uri="{FF2B5EF4-FFF2-40B4-BE49-F238E27FC236}">
                <a16:creationId xmlns:a16="http://schemas.microsoft.com/office/drawing/2014/main" id="{FA39207E-2CD0-54FD-E6A4-E471023DAC9C}"/>
              </a:ext>
            </a:extLst>
          </p:cNvPr>
          <p:cNvSpPr/>
          <p:nvPr userDrawn="1"/>
        </p:nvSpPr>
        <p:spPr>
          <a:xfrm>
            <a:off x="540000" y="1762183"/>
            <a:ext cx="5508000" cy="4176000"/>
          </a:xfrm>
          <a:custGeom>
            <a:avLst/>
            <a:gdLst>
              <a:gd name="connsiteX0" fmla="*/ 0 w 5508000"/>
              <a:gd name="connsiteY0" fmla="*/ 0 h 4176000"/>
              <a:gd name="connsiteX1" fmla="*/ 5508000 w 5508000"/>
              <a:gd name="connsiteY1" fmla="*/ 0 h 4176000"/>
              <a:gd name="connsiteX2" fmla="*/ 5508000 w 5508000"/>
              <a:gd name="connsiteY2" fmla="*/ 3672000 h 4176000"/>
              <a:gd name="connsiteX3" fmla="*/ 4668000 w 5508000"/>
              <a:gd name="connsiteY3" fmla="*/ 4160102 h 4176000"/>
              <a:gd name="connsiteX4" fmla="*/ 4668000 w 5508000"/>
              <a:gd name="connsiteY4" fmla="*/ 4176000 h 4176000"/>
              <a:gd name="connsiteX5" fmla="*/ 0 w 5508000"/>
              <a:gd name="connsiteY5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08000" h="4176000">
                <a:moveTo>
                  <a:pt x="0" y="0"/>
                </a:moveTo>
                <a:lnTo>
                  <a:pt x="5508000" y="0"/>
                </a:lnTo>
                <a:lnTo>
                  <a:pt x="5508000" y="3672000"/>
                </a:lnTo>
                <a:lnTo>
                  <a:pt x="4668000" y="4160102"/>
                </a:lnTo>
                <a:lnTo>
                  <a:pt x="466800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9A925D7-2D7D-43C7-9010-3AFC1DBCDB4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Inhalt">
            <a:extLst>
              <a:ext uri="{FF2B5EF4-FFF2-40B4-BE49-F238E27FC236}">
                <a16:creationId xmlns:a16="http://schemas.microsoft.com/office/drawing/2014/main" id="{71AA669D-592A-6CA6-40EE-453AF035B00C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6312024" y="1762183"/>
            <a:ext cx="5387977" cy="4032250"/>
          </a:xfrm>
        </p:spPr>
        <p:txBody>
          <a:bodyPr/>
          <a:lstStyle>
            <a:lvl1pPr>
              <a:buClr>
                <a:srgbClr val="10065A"/>
              </a:buClr>
              <a:defRPr sz="2200"/>
            </a:lvl1pPr>
            <a:lvl2pPr marL="714375" indent="-427038"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Diagramm-Quelle">
            <a:extLst>
              <a:ext uri="{FF2B5EF4-FFF2-40B4-BE49-F238E27FC236}">
                <a16:creationId xmlns:a16="http://schemas.microsoft.com/office/drawing/2014/main" id="{6C744941-82E0-CEA2-F9D5-E0379AF6D6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00" y="5977438"/>
            <a:ext cx="10080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6" name="Diagramm-Platzhalter">
            <a:extLst>
              <a:ext uri="{FF2B5EF4-FFF2-40B4-BE49-F238E27FC236}">
                <a16:creationId xmlns:a16="http://schemas.microsoft.com/office/drawing/2014/main" id="{7E8C02E1-CF7B-07BE-376E-EF8C00087584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23392" y="1872000"/>
            <a:ext cx="5292000" cy="3924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1800" b="1" dirty="0">
                <a:solidFill>
                  <a:srgbClr val="FFFFFF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8" name="Diagramm-Untertitel">
            <a:extLst>
              <a:ext uri="{FF2B5EF4-FFF2-40B4-BE49-F238E27FC236}">
                <a16:creationId xmlns:a16="http://schemas.microsoft.com/office/drawing/2014/main" id="{611CB02D-5ED8-E5E7-A444-F8F15444D0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399449"/>
            <a:ext cx="11160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-Untertitel</a:t>
            </a:r>
          </a:p>
        </p:txBody>
      </p:sp>
      <p:sp>
        <p:nvSpPr>
          <p:cNvPr id="7" name="Diagramm-Titel">
            <a:extLst>
              <a:ext uri="{FF2B5EF4-FFF2-40B4-BE49-F238E27FC236}">
                <a16:creationId xmlns:a16="http://schemas.microsoft.com/office/drawing/2014/main" id="{CFF9721D-0547-88BE-1274-BDBC625D4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090901"/>
            <a:ext cx="11160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FF3EB5"/>
                </a:solidFill>
              </a:defRPr>
            </a:lvl1pPr>
          </a:lstStyle>
          <a:p>
            <a:pPr lvl="0"/>
            <a:r>
              <a:rPr lang="de-DE" noProof="0" dirty="0"/>
              <a:t>Diagramm-Titel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1AC391F8-146D-F152-51B5-8DC6548F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de-DE" dirty="0"/>
              <a:t>Titel der Diagramm-Folie</a:t>
            </a:r>
          </a:p>
        </p:txBody>
      </p:sp>
    </p:spTree>
    <p:extLst>
      <p:ext uri="{BB962C8B-B14F-4D97-AF65-F5344CB8AC3E}">
        <p14:creationId xmlns:p14="http://schemas.microsoft.com/office/powerpoint/2010/main" val="1688914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Pink/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326" y="5781691"/>
            <a:ext cx="2735347" cy="1076181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FF3E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14CE86E1-4750-4BC0-8D40-369ACBD77A8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4136425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+ Inhalt | 1:1 /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-Hintergrund">
            <a:extLst>
              <a:ext uri="{FF2B5EF4-FFF2-40B4-BE49-F238E27FC236}">
                <a16:creationId xmlns:a16="http://schemas.microsoft.com/office/drawing/2014/main" id="{FA39207E-2CD0-54FD-E6A4-E471023DAC9C}"/>
              </a:ext>
            </a:extLst>
          </p:cNvPr>
          <p:cNvSpPr/>
          <p:nvPr userDrawn="1"/>
        </p:nvSpPr>
        <p:spPr>
          <a:xfrm>
            <a:off x="540000" y="1762183"/>
            <a:ext cx="5508000" cy="4176000"/>
          </a:xfrm>
          <a:custGeom>
            <a:avLst/>
            <a:gdLst>
              <a:gd name="connsiteX0" fmla="*/ 0 w 5508000"/>
              <a:gd name="connsiteY0" fmla="*/ 0 h 4176000"/>
              <a:gd name="connsiteX1" fmla="*/ 5508000 w 5508000"/>
              <a:gd name="connsiteY1" fmla="*/ 0 h 4176000"/>
              <a:gd name="connsiteX2" fmla="*/ 5508000 w 5508000"/>
              <a:gd name="connsiteY2" fmla="*/ 3672000 h 4176000"/>
              <a:gd name="connsiteX3" fmla="*/ 4668000 w 5508000"/>
              <a:gd name="connsiteY3" fmla="*/ 4160102 h 4176000"/>
              <a:gd name="connsiteX4" fmla="*/ 4668000 w 5508000"/>
              <a:gd name="connsiteY4" fmla="*/ 4176000 h 4176000"/>
              <a:gd name="connsiteX5" fmla="*/ 0 w 5508000"/>
              <a:gd name="connsiteY5" fmla="*/ 4176000 h 41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08000" h="4176000">
                <a:moveTo>
                  <a:pt x="0" y="0"/>
                </a:moveTo>
                <a:lnTo>
                  <a:pt x="5508000" y="0"/>
                </a:lnTo>
                <a:lnTo>
                  <a:pt x="5508000" y="3672000"/>
                </a:lnTo>
                <a:lnTo>
                  <a:pt x="4668000" y="4160102"/>
                </a:lnTo>
                <a:lnTo>
                  <a:pt x="4668000" y="4176000"/>
                </a:lnTo>
                <a:lnTo>
                  <a:pt x="0" y="4176000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F52AA732-5B93-9DA5-AFB4-0F716B3939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BB271BAC-3150-842B-B738-785AA629E12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FE1CA57-F3F2-435D-8CB0-72F1BA6E3BDD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Inhalt">
            <a:extLst>
              <a:ext uri="{FF2B5EF4-FFF2-40B4-BE49-F238E27FC236}">
                <a16:creationId xmlns:a16="http://schemas.microsoft.com/office/drawing/2014/main" id="{71AA669D-592A-6CA6-40EE-453AF035B00C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6312024" y="1762183"/>
            <a:ext cx="5387977" cy="4032250"/>
          </a:xfrm>
        </p:spPr>
        <p:txBody>
          <a:bodyPr/>
          <a:lstStyle>
            <a:lvl1pPr>
              <a:buClr>
                <a:srgbClr val="10065A"/>
              </a:buClr>
              <a:defRPr sz="2200"/>
            </a:lvl1pPr>
            <a:lvl2pPr marL="714375" indent="-427038"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Diagramm-Quelle">
            <a:extLst>
              <a:ext uri="{FF2B5EF4-FFF2-40B4-BE49-F238E27FC236}">
                <a16:creationId xmlns:a16="http://schemas.microsoft.com/office/drawing/2014/main" id="{6C744941-82E0-CEA2-F9D5-E0379AF6D6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00" y="5977438"/>
            <a:ext cx="10080000" cy="11585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rgbClr val="8C3E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Quelle / Autor/Zusatzinfos hier angeben!</a:t>
            </a:r>
          </a:p>
        </p:txBody>
      </p:sp>
      <p:sp>
        <p:nvSpPr>
          <p:cNvPr id="6" name="Diagramm-Platzhalter">
            <a:extLst>
              <a:ext uri="{FF2B5EF4-FFF2-40B4-BE49-F238E27FC236}">
                <a16:creationId xmlns:a16="http://schemas.microsoft.com/office/drawing/2014/main" id="{7E8C02E1-CF7B-07BE-376E-EF8C00087584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23392" y="1872000"/>
            <a:ext cx="5292000" cy="3924000"/>
          </a:xfrm>
        </p:spPr>
        <p:txBody>
          <a:bodyPr vert="horz" lIns="0" tIns="0" rIns="0" bIns="864000" rtlCol="0" anchor="ctr" anchorCtr="1">
            <a:noAutofit/>
          </a:bodyPr>
          <a:lstStyle>
            <a:lvl1pPr marL="270000" indent="-270000">
              <a:buFont typeface="Arial" panose="020B0604020202020204" pitchFamily="34" charset="0"/>
              <a:buNone/>
              <a:defRPr lang="de-DE" sz="1800" b="1" dirty="0">
                <a:solidFill>
                  <a:srgbClr val="10065A"/>
                </a:solidFill>
              </a:defRPr>
            </a:lvl1pPr>
          </a:lstStyle>
          <a:p>
            <a:pPr marL="0" lvl="0" indent="0"/>
            <a:r>
              <a:rPr lang="de-DE" dirty="0"/>
              <a:t>Diagramm durch Klicken auf Symbol erstellen!</a:t>
            </a:r>
          </a:p>
        </p:txBody>
      </p:sp>
      <p:sp>
        <p:nvSpPr>
          <p:cNvPr id="8" name="Diagramm-Untertitel">
            <a:extLst>
              <a:ext uri="{FF2B5EF4-FFF2-40B4-BE49-F238E27FC236}">
                <a16:creationId xmlns:a16="http://schemas.microsoft.com/office/drawing/2014/main" id="{611CB02D-5ED8-E5E7-A444-F8F15444D0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399449"/>
            <a:ext cx="111600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-Untertitel</a:t>
            </a:r>
          </a:p>
        </p:txBody>
      </p:sp>
      <p:sp>
        <p:nvSpPr>
          <p:cNvPr id="7" name="Diagramm-Titel">
            <a:extLst>
              <a:ext uri="{FF2B5EF4-FFF2-40B4-BE49-F238E27FC236}">
                <a16:creationId xmlns:a16="http://schemas.microsoft.com/office/drawing/2014/main" id="{CFF9721D-0547-88BE-1274-BDBC625D4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090901"/>
            <a:ext cx="111600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>
                <a:solidFill>
                  <a:srgbClr val="10ADAA"/>
                </a:solidFill>
              </a:defRPr>
            </a:lvl1pPr>
          </a:lstStyle>
          <a:p>
            <a:pPr lvl="0"/>
            <a:r>
              <a:rPr lang="de-DE" noProof="0" dirty="0"/>
              <a:t>Diagramm-Titel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1AC391F8-146D-F152-51B5-8DC6548F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de-DE" dirty="0"/>
              <a:t>Titel der Diagramm-Folie</a:t>
            </a:r>
          </a:p>
        </p:txBody>
      </p:sp>
    </p:spTree>
    <p:extLst>
      <p:ext uri="{BB962C8B-B14F-4D97-AF65-F5344CB8AC3E}">
        <p14:creationId xmlns:p14="http://schemas.microsoft.com/office/powerpoint/2010/main" val="425840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">
            <a:extLst>
              <a:ext uri="{FF2B5EF4-FFF2-40B4-BE49-F238E27FC236}">
                <a16:creationId xmlns:a16="http://schemas.microsoft.com/office/drawing/2014/main" id="{97731A11-C713-C88D-BB91-277E0545AB4F}"/>
              </a:ext>
            </a:extLst>
          </p:cNvPr>
          <p:cNvSpPr txBox="1"/>
          <p:nvPr userDrawn="1"/>
        </p:nvSpPr>
        <p:spPr>
          <a:xfrm>
            <a:off x="0" y="1962218"/>
            <a:ext cx="12192000" cy="2933564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r>
              <a:rPr lang="de-DE" sz="16600" cap="all" baseline="0" dirty="0">
                <a:solidFill>
                  <a:srgbClr val="FF3EB5"/>
                </a:solidFill>
                <a:latin typeface="Montserrat Black" pitchFamily="2" charset="0"/>
              </a:rPr>
              <a:t>Bilder</a:t>
            </a:r>
          </a:p>
        </p:txBody>
      </p:sp>
    </p:spTree>
    <p:extLst>
      <p:ext uri="{BB962C8B-B14F-4D97-AF65-F5344CB8AC3E}">
        <p14:creationId xmlns:p14="http://schemas.microsoft.com/office/powerpoint/2010/main" val="3291883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groß | 3er / Pink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9" cy="1042601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78F177-4953-4E06-8EA1-070C2125A75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3">
            <a:extLst>
              <a:ext uri="{FF2B5EF4-FFF2-40B4-BE49-F238E27FC236}">
                <a16:creationId xmlns:a16="http://schemas.microsoft.com/office/drawing/2014/main" id="{34E45F81-C0C5-4D95-1370-A091E09893A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EFF97603-ADD3-D78D-DB5D-0323791CC87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">
            <a:extLst>
              <a:ext uri="{FF2B5EF4-FFF2-40B4-BE49-F238E27FC236}">
                <a16:creationId xmlns:a16="http://schemas.microsoft.com/office/drawing/2014/main" id="{569AC685-F0FE-97BE-5367-1CBED2453CD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916971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groß | 3er / Pink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9" cy="1042601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C5518F-55D6-4F77-9068-FB04634D6EF7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D4D5A360-DAF3-0446-0146-B93D25E98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816DD4E9-455A-32D0-3205-F9700917481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B4050525-3F01-2404-09DE-FCC0A36D668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1733685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groß | 3er / Türkis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8" cy="1042601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8D88-C754-44D1-8468-047B920EB3BF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2ABC3379-3803-76D2-3DC5-89AA141A53C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92AD0BC2-FF36-AE5D-E32E-4C7E300B54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2A836A2D-F6EE-60C9-54A6-AE614FE938D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505892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groß | 3er / Türkis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8" cy="1042601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0709D4-D0F2-45A2-AEE3-E650E4289F8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5CFFAE5F-6CE7-0E2E-865B-2E8567B47F1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6C427993-E582-740C-486C-D230F863F3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B181DD17-A3DE-4986-1A3B-EA449A0D5D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1915521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groß | 3er / Orange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8" cy="1042600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7C7D38-59A5-4695-BB21-1B46A1944386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26FF1DFB-3DBB-03E3-684B-344CD35CC3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6B072180-4E59-889F-6C52-1366496FA0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A6D80625-A87B-2A16-C209-DE13A5F7357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5023807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groß | 3er / Orange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8" cy="1042600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BEFE17-8206-4BAC-A5E1-F3A855B824C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85A7A99E-97E5-66CB-D1E0-1782F29A971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B88297AD-CE04-5BCF-5ED5-01BEE05DDF7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C6EC6F4C-A843-4111-C127-34BA0CFCE49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631330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groß | 3er / Grün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7" cy="1042600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7A8D556-0FD6-45E7-86DE-22AB4C31B3AA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45AD345E-F36C-9F14-4900-61DCA53E6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0C42F5A4-7F1E-6EE8-785F-31D114D14E4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F3025F97-3B6F-226F-CFD7-0D1C5F32EF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7676845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groß | 3er / Grün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7" cy="1042600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E8128B-0BF6-42AB-AD8B-56F03A84540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58860271-D332-74E7-49F9-2812B80EF8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81BEFB27-C218-1692-3448-9AEF4246864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72000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E5C38E5D-4D69-CFAC-0E6D-4DC0B1F78B9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959984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Pink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FF3E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25259" y="966418"/>
            <a:ext cx="2765859" cy="2107961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rgbClr val="FF3EB5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2565610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Türkis/Dunkel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001" y="5781691"/>
            <a:ext cx="2735998" cy="1076180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10AD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2D4AB250-B50F-432F-988A-B02A95D38031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426782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groß | 3er / Dunkelblau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fld id="{EF54BF95-23BD-426E-A520-014C9969A97E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5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CEB86C9A-A14D-9880-F263-D939FBF52A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5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E4E3CFF2-347C-7871-D5C3-2FCC122988C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5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0DB70611-80CC-1564-6CE4-666FCBF68CF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1137118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groß | 3er / Blau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3920414C-D0D3-4C79-A3AD-257E778CE687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79CD4E94-92B6-A0E5-EFF7-565E1F4084F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4A63A873-F729-E888-8669-BD26D7FC2D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80A39311-D0F3-4519-C7DB-C6CBEF632B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062158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groß | 3er / Pink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397D94A4-65F1-421E-B544-A702025156B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chemeClr val="accent1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52EE3D2D-6E12-0D56-D091-4D8A0AD9E12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chemeClr val="accent1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AA96CD56-05BD-975C-571E-927CFAC045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chemeClr val="accent1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993DE71E-46E0-F71E-11F0-C15E1BF84A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945693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groß | 3er / Türkis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F48E47D4-1681-432E-B2A7-026708A98C1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D4E2C428-E139-A071-2A6A-B8C10F3A7A4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FD742EF8-165D-3479-7597-457A9C4449F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55A655C5-7CE0-103B-8939-DE444400DCB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646947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groß | 3er / Violett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AB569CEC-FEF8-4B67-84E8-6D94C4D2A1A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8C3E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2838877E-4900-5A49-7D03-5BC1B18792F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8C3E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103D6B38-3CCA-5EC5-AF99-83B3E914FBA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8C3E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76EFFEC2-566D-1E7E-9E48-B2D8CDE86B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888429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groß | 3er / Orange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BEA6203D-BF01-47E1-9ED6-B76A7D8F000C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67DA5352-DBAE-CB5F-A5B8-9480EBCB72D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FEBC678C-701E-1538-E639-72CC8CB742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C82891C5-C31D-E25B-1E1F-9679CE94E6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3116207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groß | 3er / Gold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1AAE2AF2-5558-4273-B5B1-5578F48D057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DCF028EF-69D8-7450-1248-90F9367E583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422971BA-34B1-860E-F7C3-D1A31DB62FC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0CFAFA01-F21A-926C-F54D-BEC5FD26B25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30199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groß | 3er / Grün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781D233F-9F52-4719-B031-ED29A136666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46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778DA444-5771-A314-40DC-25CA893BE1C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6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2D6970EF-713F-11F3-B558-AC73CBF7197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23887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4783435"/>
            <a:ext cx="3240000" cy="115175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4365104"/>
            <a:ext cx="324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57901"/>
            <a:ext cx="3240000" cy="2880000"/>
          </a:xfrm>
          <a:prstGeom prst="snip2DiagRect">
            <a:avLst>
              <a:gd name="adj1" fmla="val 13890"/>
              <a:gd name="adj2" fmla="val 0"/>
            </a:avLst>
          </a:prstGeom>
          <a:solidFill>
            <a:srgbClr val="F0F3F7"/>
          </a:solidFill>
        </p:spPr>
        <p:txBody>
          <a:bodyPr tIns="18000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B7CE13D4-F452-B22D-1036-289ED3072E5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0000" y="3921901"/>
            <a:ext cx="3276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7154733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3er  / Pink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8" cy="1042601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3AB80F2-3E30-49CC-B5DD-FEE04C6E24F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1916A2CE-DEA2-DEE1-8F87-AB7FCE0F19A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E98CDBFB-D08A-AFD6-0D56-580EDA94E41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81F82F41-99DC-E824-703D-90F7D822F39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431438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3er  / Pink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8" cy="1042601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1F8A5E-14DF-4C12-B758-1F71E907408E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C42436CA-F3C1-79F4-4FA7-B2BEEBBFB75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0A402302-59BA-6868-9A6E-6EDC862B711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936FEFAA-9608-064C-16A1-3B70F9C533A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387414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Türkis/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327" y="5781691"/>
            <a:ext cx="2735345" cy="1076180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10AD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DFA1D08A-646B-4583-AFE3-AB9EB2EE8BA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389864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3er  / Türkis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9" cy="1042601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5E98DB-C2AD-4694-86CF-083976C8D33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C1027296-80F3-541D-059B-464B4F464B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B8AC1537-E772-96C3-BDF9-3AF5E32B4C4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0DDE1C70-1FD1-0C4D-F55E-968D938E2BC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91599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3er  / Türkis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9" cy="1042601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7200C09-3306-4112-AAEE-726C30726D2B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961D6735-A676-6370-C7EB-FF384DE74B5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6CC92D2A-DFE9-A66D-E0D8-3235E55A20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7B3F6B5F-1B2D-1F29-E1BE-E4CC5A8C69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431154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3er  / Orange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8" cy="1042601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6BC348-A107-4765-B271-695F6546DBCC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CCA7BE3A-1768-AECE-37A8-37657E5389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EDC1386F-A67A-EA16-8BE6-C519761BAEE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033E4015-4F65-EC26-1998-5F2B91DA283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211700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3er  / Orangek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8" cy="1042601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F3A3E0-D267-4FD5-834A-BA67F65E458C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012BA3F4-C214-4627-BD8E-A2B4A063C5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9333DAF7-163D-EC91-7F1C-6BE2C2D707D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13328970-F468-017A-7AF6-00C40858AC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926603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3er  / Grün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8" cy="1042600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F71FAA-9DFE-4BEA-B1FF-BF1A82BB4E07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5F2FB311-F281-582C-9042-83140718E49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ADEA4627-AF5D-9055-A580-47623793934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721BFE16-9F66-B154-DFA5-764F33B465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163201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3er  / Grünk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8" cy="1042600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D313E9-24C2-4EF6-8CE1-CFC3C1520B7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3">
            <a:extLst>
              <a:ext uri="{FF2B5EF4-FFF2-40B4-BE49-F238E27FC236}">
                <a16:creationId xmlns:a16="http://schemas.microsoft.com/office/drawing/2014/main" id="{483B554E-67EA-17CD-F200-5A63996BF25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2">
            <a:extLst>
              <a:ext uri="{FF2B5EF4-FFF2-40B4-BE49-F238E27FC236}">
                <a16:creationId xmlns:a16="http://schemas.microsoft.com/office/drawing/2014/main" id="{C705DCFB-B1A4-D39F-10E1-BEDE851E64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 tIns="0"/>
          <a:lstStyle>
            <a:lvl1pPr marL="0" indent="0" algn="ctr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111600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2" name="Bild-Nachweis">
            <a:extLst>
              <a:ext uri="{FF2B5EF4-FFF2-40B4-BE49-F238E27FC236}">
                <a16:creationId xmlns:a16="http://schemas.microsoft.com/office/drawing/2014/main" id="{A038BAED-B0B7-6C61-1040-CDC1B9FEB2A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150149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3er  / Dunkelblau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">
            <a:extLst>
              <a:ext uri="{FF2B5EF4-FFF2-40B4-BE49-F238E27FC236}">
                <a16:creationId xmlns:a16="http://schemas.microsoft.com/office/drawing/2014/main" id="{BCC2C41B-74C8-332A-99E1-747BB4322BE6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fld id="{37251BA6-AE8C-4548-B028-B05E7F7B6E2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3C98F38-7805-70CF-1CB2-BCD64AB7388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10065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98E30D0F-3E54-2CBD-E871-CAC7A7742E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10065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9CC3A524-322F-01E1-40EF-180ADCC072A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10065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EFDC4EC3-8A09-9689-478F-5BC19C848DA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39237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3er  / Blau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">
            <a:extLst>
              <a:ext uri="{FF2B5EF4-FFF2-40B4-BE49-F238E27FC236}">
                <a16:creationId xmlns:a16="http://schemas.microsoft.com/office/drawing/2014/main" id="{BCC2C41B-74C8-332A-99E1-747BB4322BE6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0F9EEABB-4626-4283-95E7-0EE6C8EAB2A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3C98F38-7805-70CF-1CB2-BCD64AB7388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1006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329F9E49-7C35-0887-9091-61ECA3C8968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1006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DDDAA333-872E-9B3A-570E-1291C5C1823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1006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7E22D8D7-7596-6CCD-4A86-09E5C443EC3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931505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3er  / Pink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">
            <a:extLst>
              <a:ext uri="{FF2B5EF4-FFF2-40B4-BE49-F238E27FC236}">
                <a16:creationId xmlns:a16="http://schemas.microsoft.com/office/drawing/2014/main" id="{BCC2C41B-74C8-332A-99E1-747BB4322BE6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29261BBB-04F6-470E-A3EC-19FA1826217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3C98F38-7805-70CF-1CB2-BCD64AB7388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987C7A81-BB9E-D2F2-EFD0-6E1213079A0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BF8843BD-1602-55E7-A7E3-9660BDF7EA2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70722211-5F83-9DFE-7B94-ECF32DC0B93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8018826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3er  / Türkis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">
            <a:extLst>
              <a:ext uri="{FF2B5EF4-FFF2-40B4-BE49-F238E27FC236}">
                <a16:creationId xmlns:a16="http://schemas.microsoft.com/office/drawing/2014/main" id="{BCC2C41B-74C8-332A-99E1-747BB4322BE6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46C11E1A-D47E-4187-AC44-1AEDE220FAE1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3C98F38-7805-70CF-1CB2-BCD64AB7388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chemeClr val="accent2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F9177039-D8E2-4B5B-1FC2-F3E07C6C9B1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chemeClr val="accent2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42D78348-810D-CDDA-3954-C45761CCA6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chemeClr val="accent2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B2E18334-D1F1-0DFB-E846-BCD7F3231C3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04187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Violett/Dunkel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002" y="5781691"/>
            <a:ext cx="2735995" cy="1076179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8C3E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11FB9FAE-E82B-440A-901C-B44588C2D3DE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684708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3er  / Violett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">
            <a:extLst>
              <a:ext uri="{FF2B5EF4-FFF2-40B4-BE49-F238E27FC236}">
                <a16:creationId xmlns:a16="http://schemas.microsoft.com/office/drawing/2014/main" id="{BCC2C41B-74C8-332A-99E1-747BB4322BE6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61379F1C-221D-4F94-91D5-B1D2E73E833F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3C98F38-7805-70CF-1CB2-BCD64AB7388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8C3E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B64182FD-B0B3-EBD9-24C7-1A23369BA3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8C3E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FD8BDCE4-B30B-40E6-A909-8EAF40505F8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8C3E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E78C1924-8542-6C6B-0572-1BBEC5DA7C7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666749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3er  / Orange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">
            <a:extLst>
              <a:ext uri="{FF2B5EF4-FFF2-40B4-BE49-F238E27FC236}">
                <a16:creationId xmlns:a16="http://schemas.microsoft.com/office/drawing/2014/main" id="{BCC2C41B-74C8-332A-99E1-747BB4322BE6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C3CA159E-E559-4454-933C-8FC764F3A24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3C98F38-7805-70CF-1CB2-BCD64AB7388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FEB2A45A-7F42-49DC-75E4-3AB2C578BFE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05063BC3-9345-5C32-7466-15DD799422F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68B2EE8B-7900-333B-88AE-6AE32C96356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6686890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3er  / Gold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">
            <a:extLst>
              <a:ext uri="{FF2B5EF4-FFF2-40B4-BE49-F238E27FC236}">
                <a16:creationId xmlns:a16="http://schemas.microsoft.com/office/drawing/2014/main" id="{BCC2C41B-74C8-332A-99E1-747BB4322BE6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50576241-5224-433A-A499-6731DE99903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3C98F38-7805-70CF-1CB2-BCD64AB7388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FF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F108DDA7-0663-858D-8E91-A02B0CB27AF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FF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D66B2992-B92D-521A-7B19-6657EDDE33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FF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273934DB-E2A1-1891-2EB1-3B7BC66206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628969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3er  / Grün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">
            <a:extLst>
              <a:ext uri="{FF2B5EF4-FFF2-40B4-BE49-F238E27FC236}">
                <a16:creationId xmlns:a16="http://schemas.microsoft.com/office/drawing/2014/main" id="{BCC2C41B-74C8-332A-99E1-747BB4322BE6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33C7FA96-1CBA-4563-A0B9-B30064DE9F6B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3C98F38-7805-70CF-1CB2-BCD64AB7388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-Platzhalter3">
            <a:extLst>
              <a:ext uri="{FF2B5EF4-FFF2-40B4-BE49-F238E27FC236}">
                <a16:creationId xmlns:a16="http://schemas.microsoft.com/office/drawing/2014/main" id="{5DE1E801-3817-583D-2850-C7AA058BA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6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6" name="Bild-Unterschrift3">
            <a:extLst>
              <a:ext uri="{FF2B5EF4-FFF2-40B4-BE49-F238E27FC236}">
                <a16:creationId xmlns:a16="http://schemas.microsoft.com/office/drawing/2014/main" id="{240A1EEC-3AA5-5356-1274-290D97DF95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6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3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2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3">
            <a:extLst>
              <a:ext uri="{FF2B5EF4-FFF2-40B4-BE49-F238E27FC236}">
                <a16:creationId xmlns:a16="http://schemas.microsoft.com/office/drawing/2014/main" id="{52FBEBAA-F26F-52F5-3793-E46286B58F6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8" name="Text-Platzhalter2">
            <a:extLst>
              <a:ext uri="{FF2B5EF4-FFF2-40B4-BE49-F238E27FC236}">
                <a16:creationId xmlns:a16="http://schemas.microsoft.com/office/drawing/2014/main" id="{3E4A76AB-166B-C814-6E57-728032FA54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0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3" name="Bild-Unterschrift2">
            <a:extLst>
              <a:ext uri="{FF2B5EF4-FFF2-40B4-BE49-F238E27FC236}">
                <a16:creationId xmlns:a16="http://schemas.microsoft.com/office/drawing/2014/main" id="{F9FC3F8E-3DCB-4CE3-5C46-9FD983EAC0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0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2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6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4" name="Bild-Nachweis2">
            <a:extLst>
              <a:ext uri="{FF2B5EF4-FFF2-40B4-BE49-F238E27FC236}">
                <a16:creationId xmlns:a16="http://schemas.microsoft.com/office/drawing/2014/main" id="{AB95A67B-4D6C-6058-3A18-19763B9C04B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6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3240000" cy="19080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3240000" cy="360000"/>
          </a:xfrm>
        </p:spPr>
        <p:txBody>
          <a:bodyPr/>
          <a:lstStyle>
            <a:lvl1pPr marL="0" indent="0" algn="ctr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8910995B-9DE5-5F99-F7C3-BCA8970E008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00000" y="3021901"/>
            <a:ext cx="288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207942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4er  / Pink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7" cy="1042599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0D7F937-5C07-4E22-B540-49B47C5A0F9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6" name="Bild-Nachweis4">
            <a:extLst>
              <a:ext uri="{FF2B5EF4-FFF2-40B4-BE49-F238E27FC236}">
                <a16:creationId xmlns:a16="http://schemas.microsoft.com/office/drawing/2014/main" id="{6254EB68-2EF5-C104-5C96-826062B04F3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8" name="Bild-Nachweis3">
            <a:extLst>
              <a:ext uri="{FF2B5EF4-FFF2-40B4-BE49-F238E27FC236}">
                <a16:creationId xmlns:a16="http://schemas.microsoft.com/office/drawing/2014/main" id="{91A1A541-64F5-0AD7-78A1-FFAD96C04BB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3" name="Bild-Nachweis2">
            <a:extLst>
              <a:ext uri="{FF2B5EF4-FFF2-40B4-BE49-F238E27FC236}">
                <a16:creationId xmlns:a16="http://schemas.microsoft.com/office/drawing/2014/main" id="{8E60B21B-C10A-A232-334D-E99419F07B8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">
            <a:extLst>
              <a:ext uri="{FF2B5EF4-FFF2-40B4-BE49-F238E27FC236}">
                <a16:creationId xmlns:a16="http://schemas.microsoft.com/office/drawing/2014/main" id="{0698454F-DA15-65CA-EEEF-EAFD5B789EE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5194219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4er  / Pink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7" cy="1042599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D326E37-BEB7-4C4F-AAD9-9F1C8E5614F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8" name="Bild-Nachweis4">
            <a:extLst>
              <a:ext uri="{FF2B5EF4-FFF2-40B4-BE49-F238E27FC236}">
                <a16:creationId xmlns:a16="http://schemas.microsoft.com/office/drawing/2014/main" id="{A817D4B6-3A2E-6867-5968-59575A759A4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  <p:sp>
        <p:nvSpPr>
          <p:cNvPr id="13" name="Bild-Nachweis3">
            <a:extLst>
              <a:ext uri="{FF2B5EF4-FFF2-40B4-BE49-F238E27FC236}">
                <a16:creationId xmlns:a16="http://schemas.microsoft.com/office/drawing/2014/main" id="{ACC4623E-E8F1-9F17-C1CA-FE7AA6981C8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5" name="Bild-Nachweis2">
            <a:extLst>
              <a:ext uri="{FF2B5EF4-FFF2-40B4-BE49-F238E27FC236}">
                <a16:creationId xmlns:a16="http://schemas.microsoft.com/office/drawing/2014/main" id="{CD66BE9E-1D45-749D-7164-3A775FE0B8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Bild-Nachweis">
            <a:extLst>
              <a:ext uri="{FF2B5EF4-FFF2-40B4-BE49-F238E27FC236}">
                <a16:creationId xmlns:a16="http://schemas.microsoft.com/office/drawing/2014/main" id="{E8627FB6-AE6F-A82D-F2C7-F134C23D10E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596016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4er  / Türkis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7" y="5814207"/>
            <a:ext cx="1367995" cy="1042599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6A844D8-8C2A-4894-9BB6-C6772D3FF7E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8" name="Bild-Nachweis4">
            <a:extLst>
              <a:ext uri="{FF2B5EF4-FFF2-40B4-BE49-F238E27FC236}">
                <a16:creationId xmlns:a16="http://schemas.microsoft.com/office/drawing/2014/main" id="{458BCE9D-F60E-C100-56B6-6DDCB9F1304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3" name="Bild-Nachweis3">
            <a:extLst>
              <a:ext uri="{FF2B5EF4-FFF2-40B4-BE49-F238E27FC236}">
                <a16:creationId xmlns:a16="http://schemas.microsoft.com/office/drawing/2014/main" id="{C56ECFFA-4CED-916C-ABDA-6D8F05CCECD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2">
            <a:extLst>
              <a:ext uri="{FF2B5EF4-FFF2-40B4-BE49-F238E27FC236}">
                <a16:creationId xmlns:a16="http://schemas.microsoft.com/office/drawing/2014/main" id="{583FDE61-EF1A-AE92-0A70-1F438ECD45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6" name="Bild-Nachweis">
            <a:extLst>
              <a:ext uri="{FF2B5EF4-FFF2-40B4-BE49-F238E27FC236}">
                <a16:creationId xmlns:a16="http://schemas.microsoft.com/office/drawing/2014/main" id="{AF0743E9-0231-B8BD-6DEC-3AD474F1284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640202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4er  / Türkis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7" y="5814207"/>
            <a:ext cx="1367995" cy="1042599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FE47738-C26F-49B1-B4AD-2EEBC94970C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8" name="Bild-Nachweis4">
            <a:extLst>
              <a:ext uri="{FF2B5EF4-FFF2-40B4-BE49-F238E27FC236}">
                <a16:creationId xmlns:a16="http://schemas.microsoft.com/office/drawing/2014/main" id="{0BBAD35A-E588-F943-8B5A-BA743928E2A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3" name="Bild-Nachweis3">
            <a:extLst>
              <a:ext uri="{FF2B5EF4-FFF2-40B4-BE49-F238E27FC236}">
                <a16:creationId xmlns:a16="http://schemas.microsoft.com/office/drawing/2014/main" id="{F9DC6F95-86C5-DD7E-555B-D8534F0DB7C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2">
            <a:extLst>
              <a:ext uri="{FF2B5EF4-FFF2-40B4-BE49-F238E27FC236}">
                <a16:creationId xmlns:a16="http://schemas.microsoft.com/office/drawing/2014/main" id="{69E34A26-6DC2-5860-83CB-547AD63722B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6" name="Bild-Nachweis">
            <a:extLst>
              <a:ext uri="{FF2B5EF4-FFF2-40B4-BE49-F238E27FC236}">
                <a16:creationId xmlns:a16="http://schemas.microsoft.com/office/drawing/2014/main" id="{A270B5C5-6F61-D915-FF30-8CAB1B331B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469481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4er  / Orange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7" cy="1042599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44D3D0-2742-42B9-A65C-0CA3B78A470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8" name="Bild-Nachweis4">
            <a:extLst>
              <a:ext uri="{FF2B5EF4-FFF2-40B4-BE49-F238E27FC236}">
                <a16:creationId xmlns:a16="http://schemas.microsoft.com/office/drawing/2014/main" id="{A463AD5E-EAB1-5A6E-113C-1A78BB3D71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3" name="Bild-Nachweis3">
            <a:extLst>
              <a:ext uri="{FF2B5EF4-FFF2-40B4-BE49-F238E27FC236}">
                <a16:creationId xmlns:a16="http://schemas.microsoft.com/office/drawing/2014/main" id="{39874BA6-FC85-7DB9-BC96-747DFFA1C95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2">
            <a:extLst>
              <a:ext uri="{FF2B5EF4-FFF2-40B4-BE49-F238E27FC236}">
                <a16:creationId xmlns:a16="http://schemas.microsoft.com/office/drawing/2014/main" id="{374B776B-1DFE-CB91-A4C0-0D7C98B3BC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6" name="Bild-Nachweis">
            <a:extLst>
              <a:ext uri="{FF2B5EF4-FFF2-40B4-BE49-F238E27FC236}">
                <a16:creationId xmlns:a16="http://schemas.microsoft.com/office/drawing/2014/main" id="{1F97D899-D37B-BBEE-D663-BFD5C4C0F66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72401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4er  / Orange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7" cy="1042599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E84D70B-73CA-4963-BC6C-2483EB6C0E9E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8" name="Bild-Nachweis4">
            <a:extLst>
              <a:ext uri="{FF2B5EF4-FFF2-40B4-BE49-F238E27FC236}">
                <a16:creationId xmlns:a16="http://schemas.microsoft.com/office/drawing/2014/main" id="{2D740E10-5786-F280-5EE1-3B6DB57ED17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3" name="Bild-Nachweis3">
            <a:extLst>
              <a:ext uri="{FF2B5EF4-FFF2-40B4-BE49-F238E27FC236}">
                <a16:creationId xmlns:a16="http://schemas.microsoft.com/office/drawing/2014/main" id="{8FA7EF75-EE6B-F57D-1CBC-3FE82F50C12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2">
            <a:extLst>
              <a:ext uri="{FF2B5EF4-FFF2-40B4-BE49-F238E27FC236}">
                <a16:creationId xmlns:a16="http://schemas.microsoft.com/office/drawing/2014/main" id="{41B1EF81-3243-6803-656E-9F7BA11699B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6" name="Bild-Nachweis">
            <a:extLst>
              <a:ext uri="{FF2B5EF4-FFF2-40B4-BE49-F238E27FC236}">
                <a16:creationId xmlns:a16="http://schemas.microsoft.com/office/drawing/2014/main" id="{F95A211E-0FFB-7BF7-9CD2-901C01DB723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395900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Violett/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328" y="5781691"/>
            <a:ext cx="2735342" cy="1076179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8C3E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E5149C65-EB21-4A34-BC4B-561AF16CD08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364354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4er  / Grün-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7" cy="1042600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A218568-6ED5-4A60-9B81-E9C83CF6C2C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8" name="Bild-Nachweis4">
            <a:extLst>
              <a:ext uri="{FF2B5EF4-FFF2-40B4-BE49-F238E27FC236}">
                <a16:creationId xmlns:a16="http://schemas.microsoft.com/office/drawing/2014/main" id="{EADAD34A-41C9-C3B6-654D-92F602EB7EB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3" name="Bild-Nachweis3">
            <a:extLst>
              <a:ext uri="{FF2B5EF4-FFF2-40B4-BE49-F238E27FC236}">
                <a16:creationId xmlns:a16="http://schemas.microsoft.com/office/drawing/2014/main" id="{DB1B6DCB-1E47-3DF4-86EC-2A1E5BF4069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2">
            <a:extLst>
              <a:ext uri="{FF2B5EF4-FFF2-40B4-BE49-F238E27FC236}">
                <a16:creationId xmlns:a16="http://schemas.microsoft.com/office/drawing/2014/main" id="{4C7C7B0E-392D-49F4-5EE3-A6E985A3BB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6" name="Bild-Nachweis">
            <a:extLst>
              <a:ext uri="{FF2B5EF4-FFF2-40B4-BE49-F238E27FC236}">
                <a16:creationId xmlns:a16="http://schemas.microsoft.com/office/drawing/2014/main" id="{13CD3E4A-45D5-BCF8-317F-3EF6CC8C469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112929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klein | 4er  / Grün-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E371AF68-714A-B209-80F0-873DAE9D1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9546" y="5814207"/>
            <a:ext cx="1367997" cy="1042600"/>
          </a:xfrm>
          <a:prstGeom prst="rect">
            <a:avLst/>
          </a:prstGeom>
        </p:spPr>
      </p:pic>
      <p:sp>
        <p:nvSpPr>
          <p:cNvPr id="10" name="Foliennummer">
            <a:extLst>
              <a:ext uri="{FF2B5EF4-FFF2-40B4-BE49-F238E27FC236}">
                <a16:creationId xmlns:a16="http://schemas.microsoft.com/office/drawing/2014/main" id="{12BC47F1-35D2-7B49-52CC-5E6F011E1F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4BA09AC2-7C11-3A0E-0767-7944B434344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A07109FA-3E44-4FD7-AA44-D72F6492407C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8" name="Bild-Nachweis4">
            <a:extLst>
              <a:ext uri="{FF2B5EF4-FFF2-40B4-BE49-F238E27FC236}">
                <a16:creationId xmlns:a16="http://schemas.microsoft.com/office/drawing/2014/main" id="{346E82BF-850E-7EA5-E386-59C2354E7E5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3" name="Bild-Nachweis3">
            <a:extLst>
              <a:ext uri="{FF2B5EF4-FFF2-40B4-BE49-F238E27FC236}">
                <a16:creationId xmlns:a16="http://schemas.microsoft.com/office/drawing/2014/main" id="{64855118-B418-A2A2-102F-EFE1D3AD881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2">
            <a:extLst>
              <a:ext uri="{FF2B5EF4-FFF2-40B4-BE49-F238E27FC236}">
                <a16:creationId xmlns:a16="http://schemas.microsoft.com/office/drawing/2014/main" id="{4740FC06-1C0E-AB2E-6955-DEC160A1537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6" name="Bild-Nachweis">
            <a:extLst>
              <a:ext uri="{FF2B5EF4-FFF2-40B4-BE49-F238E27FC236}">
                <a16:creationId xmlns:a16="http://schemas.microsoft.com/office/drawing/2014/main" id="{7FC3256F-2716-AE31-584C-47F93ACDE1E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683307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4er / Dunkelblau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">
            <a:extLst>
              <a:ext uri="{FF2B5EF4-FFF2-40B4-BE49-F238E27FC236}">
                <a16:creationId xmlns:a16="http://schemas.microsoft.com/office/drawing/2014/main" id="{E7B3EC3F-EA9D-9918-4B6D-D2F496884FC7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fld id="{2C78B04B-3B5A-4DEE-883D-B4C4D6EB006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D61E905C-EB5F-992D-BF1D-D02DD7FC313A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5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4">
            <a:extLst>
              <a:ext uri="{FF2B5EF4-FFF2-40B4-BE49-F238E27FC236}">
                <a16:creationId xmlns:a16="http://schemas.microsoft.com/office/drawing/2014/main" id="{1D430901-E75D-729A-0E13-9466923B1FA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5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9" name="Bild-Nachweis3">
            <a:extLst>
              <a:ext uri="{FF2B5EF4-FFF2-40B4-BE49-F238E27FC236}">
                <a16:creationId xmlns:a16="http://schemas.microsoft.com/office/drawing/2014/main" id="{8611E80F-A2BD-D39C-0BDF-89791E055C9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5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0" name="Bild-Nachweis2">
            <a:extLst>
              <a:ext uri="{FF2B5EF4-FFF2-40B4-BE49-F238E27FC236}">
                <a16:creationId xmlns:a16="http://schemas.microsoft.com/office/drawing/2014/main" id="{3841AD11-8FCD-82A2-DB0C-115E083BB68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5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">
            <a:extLst>
              <a:ext uri="{FF2B5EF4-FFF2-40B4-BE49-F238E27FC236}">
                <a16:creationId xmlns:a16="http://schemas.microsoft.com/office/drawing/2014/main" id="{9BACB740-C69A-B4B2-C51C-11999DD954E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251255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4er / Blau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">
            <a:extLst>
              <a:ext uri="{FF2B5EF4-FFF2-40B4-BE49-F238E27FC236}">
                <a16:creationId xmlns:a16="http://schemas.microsoft.com/office/drawing/2014/main" id="{E7B3EC3F-EA9D-9918-4B6D-D2F496884FC7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52F6668E-00F5-4931-AE3C-F77BBB6B909D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D61E905C-EB5F-992D-BF1D-D02DD7FC313A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4">
            <a:extLst>
              <a:ext uri="{FF2B5EF4-FFF2-40B4-BE49-F238E27FC236}">
                <a16:creationId xmlns:a16="http://schemas.microsoft.com/office/drawing/2014/main" id="{1CD704FF-7C94-0180-40CD-FD134381771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9" name="Bild-Nachweis3">
            <a:extLst>
              <a:ext uri="{FF2B5EF4-FFF2-40B4-BE49-F238E27FC236}">
                <a16:creationId xmlns:a16="http://schemas.microsoft.com/office/drawing/2014/main" id="{66E4FC47-87EB-4A44-2C3C-4341D576B0D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0" name="Bild-Nachweis2">
            <a:extLst>
              <a:ext uri="{FF2B5EF4-FFF2-40B4-BE49-F238E27FC236}">
                <a16:creationId xmlns:a16="http://schemas.microsoft.com/office/drawing/2014/main" id="{05735C9A-2F6E-04E0-CCA6-AF3533B3B2E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06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">
            <a:extLst>
              <a:ext uri="{FF2B5EF4-FFF2-40B4-BE49-F238E27FC236}">
                <a16:creationId xmlns:a16="http://schemas.microsoft.com/office/drawing/2014/main" id="{2AA66B06-DEE6-A023-A65E-2C7F4241C2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78860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4er / Pink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">
            <a:extLst>
              <a:ext uri="{FF2B5EF4-FFF2-40B4-BE49-F238E27FC236}">
                <a16:creationId xmlns:a16="http://schemas.microsoft.com/office/drawing/2014/main" id="{E7B3EC3F-EA9D-9918-4B6D-D2F496884FC7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439421E8-15F8-4683-80B1-5280163524AD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D61E905C-EB5F-992D-BF1D-D02DD7FC313A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4">
            <a:extLst>
              <a:ext uri="{FF2B5EF4-FFF2-40B4-BE49-F238E27FC236}">
                <a16:creationId xmlns:a16="http://schemas.microsoft.com/office/drawing/2014/main" id="{40EECFF5-6C0D-5888-4D99-0DC42DC7024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9" name="Bild-Nachweis3">
            <a:extLst>
              <a:ext uri="{FF2B5EF4-FFF2-40B4-BE49-F238E27FC236}">
                <a16:creationId xmlns:a16="http://schemas.microsoft.com/office/drawing/2014/main" id="{8F0312B3-8E8C-CD2D-3485-63A15B9E8D1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0" name="Bild-Nachweis2">
            <a:extLst>
              <a:ext uri="{FF2B5EF4-FFF2-40B4-BE49-F238E27FC236}">
                <a16:creationId xmlns:a16="http://schemas.microsoft.com/office/drawing/2014/main" id="{066E8A94-7983-B728-3071-E797947F34B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3EB5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">
            <a:extLst>
              <a:ext uri="{FF2B5EF4-FFF2-40B4-BE49-F238E27FC236}">
                <a16:creationId xmlns:a16="http://schemas.microsoft.com/office/drawing/2014/main" id="{99A0F4FE-701A-4DA0-5E10-BC050D3DBA7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1983314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4er / Türkis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">
            <a:extLst>
              <a:ext uri="{FF2B5EF4-FFF2-40B4-BE49-F238E27FC236}">
                <a16:creationId xmlns:a16="http://schemas.microsoft.com/office/drawing/2014/main" id="{E7B3EC3F-EA9D-9918-4B6D-D2F496884FC7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D64F48E2-B317-43B2-B2E6-CC9FEDF5EE4C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D61E905C-EB5F-992D-BF1D-D02DD7FC313A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4">
            <a:extLst>
              <a:ext uri="{FF2B5EF4-FFF2-40B4-BE49-F238E27FC236}">
                <a16:creationId xmlns:a16="http://schemas.microsoft.com/office/drawing/2014/main" id="{03AEA0C2-7243-95BB-3A61-B7B00882DBB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9" name="Bild-Nachweis3">
            <a:extLst>
              <a:ext uri="{FF2B5EF4-FFF2-40B4-BE49-F238E27FC236}">
                <a16:creationId xmlns:a16="http://schemas.microsoft.com/office/drawing/2014/main" id="{4D86DA62-B466-0D52-295A-B1FBA507AD8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0" name="Bild-Nachweis2">
            <a:extLst>
              <a:ext uri="{FF2B5EF4-FFF2-40B4-BE49-F238E27FC236}">
                <a16:creationId xmlns:a16="http://schemas.microsoft.com/office/drawing/2014/main" id="{6AB30D32-A3ED-573B-749E-9402BE1C522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AA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">
            <a:extLst>
              <a:ext uri="{FF2B5EF4-FFF2-40B4-BE49-F238E27FC236}">
                <a16:creationId xmlns:a16="http://schemas.microsoft.com/office/drawing/2014/main" id="{8A36C649-A07D-EFD2-85CB-A6C9B2B1037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966548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4er / Violett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">
            <a:extLst>
              <a:ext uri="{FF2B5EF4-FFF2-40B4-BE49-F238E27FC236}">
                <a16:creationId xmlns:a16="http://schemas.microsoft.com/office/drawing/2014/main" id="{E7B3EC3F-EA9D-9918-4B6D-D2F496884FC7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8018D348-3525-4FA7-BEC8-38BDAE70D79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D61E905C-EB5F-992D-BF1D-D02DD7FC313A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8C3E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4">
            <a:extLst>
              <a:ext uri="{FF2B5EF4-FFF2-40B4-BE49-F238E27FC236}">
                <a16:creationId xmlns:a16="http://schemas.microsoft.com/office/drawing/2014/main" id="{C8FA021B-D6DE-F14D-C2FB-933D89187C6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8C3E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9" name="Bild-Nachweis3">
            <a:extLst>
              <a:ext uri="{FF2B5EF4-FFF2-40B4-BE49-F238E27FC236}">
                <a16:creationId xmlns:a16="http://schemas.microsoft.com/office/drawing/2014/main" id="{CC8555B3-5AA7-66F5-BC2C-253944D26DC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8C3E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0" name="Bild-Nachweis2">
            <a:extLst>
              <a:ext uri="{FF2B5EF4-FFF2-40B4-BE49-F238E27FC236}">
                <a16:creationId xmlns:a16="http://schemas.microsoft.com/office/drawing/2014/main" id="{39EF3C29-456D-7061-B9FF-A2EDA401C0A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8C3E9F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">
            <a:extLst>
              <a:ext uri="{FF2B5EF4-FFF2-40B4-BE49-F238E27FC236}">
                <a16:creationId xmlns:a16="http://schemas.microsoft.com/office/drawing/2014/main" id="{B3E53854-6E4B-6ECD-A79F-8EAB2607DF9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2739163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4er / Orange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">
            <a:extLst>
              <a:ext uri="{FF2B5EF4-FFF2-40B4-BE49-F238E27FC236}">
                <a16:creationId xmlns:a16="http://schemas.microsoft.com/office/drawing/2014/main" id="{E7B3EC3F-EA9D-9918-4B6D-D2F496884FC7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57A6F9F2-E160-477A-A88E-7967EE3C6A5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D61E905C-EB5F-992D-BF1D-D02DD7FC313A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4">
            <a:extLst>
              <a:ext uri="{FF2B5EF4-FFF2-40B4-BE49-F238E27FC236}">
                <a16:creationId xmlns:a16="http://schemas.microsoft.com/office/drawing/2014/main" id="{C7BEA762-81FF-1ABA-CD0D-B6B72FB254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9" name="Bild-Nachweis3">
            <a:extLst>
              <a:ext uri="{FF2B5EF4-FFF2-40B4-BE49-F238E27FC236}">
                <a16:creationId xmlns:a16="http://schemas.microsoft.com/office/drawing/2014/main" id="{078B6475-D0E9-D92E-2433-AC04F7BA892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0" name="Bild-Nachweis2">
            <a:extLst>
              <a:ext uri="{FF2B5EF4-FFF2-40B4-BE49-F238E27FC236}">
                <a16:creationId xmlns:a16="http://schemas.microsoft.com/office/drawing/2014/main" id="{360ECAFA-6746-C440-F4D1-C9FD0CBD280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4414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">
            <a:extLst>
              <a:ext uri="{FF2B5EF4-FFF2-40B4-BE49-F238E27FC236}">
                <a16:creationId xmlns:a16="http://schemas.microsoft.com/office/drawing/2014/main" id="{FA954DC1-87C5-2F20-AC8C-1908DD125DF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5310594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4er /  Gold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">
            <a:extLst>
              <a:ext uri="{FF2B5EF4-FFF2-40B4-BE49-F238E27FC236}">
                <a16:creationId xmlns:a16="http://schemas.microsoft.com/office/drawing/2014/main" id="{E7B3EC3F-EA9D-9918-4B6D-D2F496884FC7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1F2126B9-4964-4A66-9584-EDF7E1A3FEE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D61E905C-EB5F-992D-BF1D-D02DD7FC313A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4">
            <a:extLst>
              <a:ext uri="{FF2B5EF4-FFF2-40B4-BE49-F238E27FC236}">
                <a16:creationId xmlns:a16="http://schemas.microsoft.com/office/drawing/2014/main" id="{5DD5AB65-C927-18A0-129D-B9180B742AC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9" name="Bild-Nachweis3">
            <a:extLst>
              <a:ext uri="{FF2B5EF4-FFF2-40B4-BE49-F238E27FC236}">
                <a16:creationId xmlns:a16="http://schemas.microsoft.com/office/drawing/2014/main" id="{B4E5E028-3466-ACEB-8572-19C1D6AF342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0" name="Bild-Nachweis2">
            <a:extLst>
              <a:ext uri="{FF2B5EF4-FFF2-40B4-BE49-F238E27FC236}">
                <a16:creationId xmlns:a16="http://schemas.microsoft.com/office/drawing/2014/main" id="{3359F206-55D3-1A7B-E55C-CFE1129879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FF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FF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">
            <a:extLst>
              <a:ext uri="{FF2B5EF4-FFF2-40B4-BE49-F238E27FC236}">
                <a16:creationId xmlns:a16="http://schemas.microsoft.com/office/drawing/2014/main" id="{D32E82AF-A8D4-93FE-076E-72CBCF6081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955752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klein | 4er / Grün-Weiß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">
            <a:extLst>
              <a:ext uri="{FF2B5EF4-FFF2-40B4-BE49-F238E27FC236}">
                <a16:creationId xmlns:a16="http://schemas.microsoft.com/office/drawing/2014/main" id="{E7B3EC3F-EA9D-9918-4B6D-D2F496884FC7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6E36BE56-F287-4FCC-ACD6-8E7FE1EE3AB7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D61E905C-EB5F-992D-BF1D-D02DD7FC313A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-Platzhalter4">
            <a:extLst>
              <a:ext uri="{FF2B5EF4-FFF2-40B4-BE49-F238E27FC236}">
                <a16:creationId xmlns:a16="http://schemas.microsoft.com/office/drawing/2014/main" id="{F906E824-E803-C3DB-227F-34A370CD61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8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20" name="Bild-Unterschrift4">
            <a:extLst>
              <a:ext uri="{FF2B5EF4-FFF2-40B4-BE49-F238E27FC236}">
                <a16:creationId xmlns:a16="http://schemas.microsoft.com/office/drawing/2014/main" id="{76FBC499-CFDF-764A-7075-6A43D3ED1BF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8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4" name="Bild-Platzhalter4">
            <a:extLst>
              <a:ext uri="{FF2B5EF4-FFF2-40B4-BE49-F238E27FC236}">
                <a16:creationId xmlns:a16="http://schemas.microsoft.com/office/drawing/2014/main" id="{ECEC371A-89CF-3B8D-F696-DABD088B3DC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80000" y="1257901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" name="Bild-Nachweis4">
            <a:extLst>
              <a:ext uri="{FF2B5EF4-FFF2-40B4-BE49-F238E27FC236}">
                <a16:creationId xmlns:a16="http://schemas.microsoft.com/office/drawing/2014/main" id="{8856BCF3-E66E-B483-98AE-C527598B80F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8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7" name="Text-Platzhalter3">
            <a:extLst>
              <a:ext uri="{FF2B5EF4-FFF2-40B4-BE49-F238E27FC236}">
                <a16:creationId xmlns:a16="http://schemas.microsoft.com/office/drawing/2014/main" id="{8A6BA438-FBCD-9BC7-AFFE-1778B1E87C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0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8" name="Bild-Unterschrift3">
            <a:extLst>
              <a:ext uri="{FF2B5EF4-FFF2-40B4-BE49-F238E27FC236}">
                <a16:creationId xmlns:a16="http://schemas.microsoft.com/office/drawing/2014/main" id="{55BA685A-EE0D-0A90-6D94-54A8CBF238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0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7" name="Bild-Platzhalter3">
            <a:extLst>
              <a:ext uri="{FF2B5EF4-FFF2-40B4-BE49-F238E27FC236}">
                <a16:creationId xmlns:a16="http://schemas.microsoft.com/office/drawing/2014/main" id="{A045EEA4-DC71-E69C-A5E3-888E4C002D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03794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9" name="Bild-Nachweis3">
            <a:extLst>
              <a:ext uri="{FF2B5EF4-FFF2-40B4-BE49-F238E27FC236}">
                <a16:creationId xmlns:a16="http://schemas.microsoft.com/office/drawing/2014/main" id="{6816887A-C74F-E63F-E071-6A76393CDE9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03794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5" name="Text-Platzhalter2">
            <a:extLst>
              <a:ext uri="{FF2B5EF4-FFF2-40B4-BE49-F238E27FC236}">
                <a16:creationId xmlns:a16="http://schemas.microsoft.com/office/drawing/2014/main" id="{2A146FCD-06F5-07EA-AEF1-420CC14844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12" name="Bild-Unterschrift2">
            <a:extLst>
              <a:ext uri="{FF2B5EF4-FFF2-40B4-BE49-F238E27FC236}">
                <a16:creationId xmlns:a16="http://schemas.microsoft.com/office/drawing/2014/main" id="{1C10FC21-882B-C429-DA33-2739530363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42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4" name="Bild-Platzhalter2">
            <a:extLst>
              <a:ext uri="{FF2B5EF4-FFF2-40B4-BE49-F238E27FC236}">
                <a16:creationId xmlns:a16="http://schemas.microsoft.com/office/drawing/2014/main" id="{8919E51D-414E-5A5D-7EEB-BF2EC93521D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27589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0" name="Bild-Nachweis2">
            <a:extLst>
              <a:ext uri="{FF2B5EF4-FFF2-40B4-BE49-F238E27FC236}">
                <a16:creationId xmlns:a16="http://schemas.microsoft.com/office/drawing/2014/main" id="{8D1F6D2E-3389-5934-1303-F464BAC99D8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427589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Text-Platzhalter">
            <a:extLst>
              <a:ext uri="{FF2B5EF4-FFF2-40B4-BE49-F238E27FC236}">
                <a16:creationId xmlns:a16="http://schemas.microsoft.com/office/drawing/2014/main" id="{85C1B675-AECF-E649-8936-9A78BB90B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88085"/>
            <a:ext cx="2520000" cy="1908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sz="2000" b="0" i="0">
                <a:solidFill>
                  <a:srgbClr val="10065A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buClr>
                <a:schemeClr val="bg1"/>
              </a:buClr>
              <a:buSzPct val="25000"/>
              <a:buNone/>
              <a:defRPr sz="2000">
                <a:solidFill>
                  <a:srgbClr val="10065A"/>
                </a:solidFill>
              </a:defRPr>
            </a:lvl2pPr>
          </a:lstStyle>
          <a:p>
            <a:pPr lvl="0"/>
            <a:r>
              <a:rPr lang="de-DE" dirty="0"/>
              <a:t>Bild-Text</a:t>
            </a:r>
          </a:p>
        </p:txBody>
      </p:sp>
      <p:sp>
        <p:nvSpPr>
          <p:cNvPr id="6" name="Bild-Unterschrift">
            <a:extLst>
              <a:ext uri="{FF2B5EF4-FFF2-40B4-BE49-F238E27FC236}">
                <a16:creationId xmlns:a16="http://schemas.microsoft.com/office/drawing/2014/main" id="{3C231258-5652-C0D5-5346-409CA95606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3469754"/>
            <a:ext cx="2520000" cy="360000"/>
          </a:xfrm>
        </p:spPr>
        <p:txBody>
          <a:bodyPr/>
          <a:lstStyle>
            <a:lvl1pPr marL="0" indent="0" algn="l">
              <a:buFontTx/>
              <a:buNone/>
              <a:defRPr sz="1800" b="1">
                <a:solidFill>
                  <a:srgbClr val="10AD00"/>
                </a:solidFill>
                <a:latin typeface="Montserrat" pitchFamily="2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Bild-Unterschrift</a:t>
            </a:r>
          </a:p>
        </p:txBody>
      </p:sp>
      <p:sp>
        <p:nvSpPr>
          <p:cNvPr id="11" name="Bild-Platzhalter">
            <a:extLst>
              <a:ext uri="{FF2B5EF4-FFF2-40B4-BE49-F238E27FC236}">
                <a16:creationId xmlns:a16="http://schemas.microsoft.com/office/drawing/2014/main" id="{8457DDE8-8022-3947-A460-BE9D9CCEC0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8760"/>
            <a:ext cx="2520000" cy="1980000"/>
          </a:xfrm>
          <a:prstGeom prst="snip1Rect">
            <a:avLst/>
          </a:prstGeom>
          <a:solidFill>
            <a:srgbClr val="F0F3F7"/>
          </a:solidFill>
        </p:spPr>
        <p:txBody>
          <a:bodyPr tIns="0" bIns="0" anchor="t" anchorCtr="1"/>
          <a:lstStyle>
            <a:lvl1pPr marL="0" indent="0" algn="l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15" name="Bild-Nachweis">
            <a:extLst>
              <a:ext uri="{FF2B5EF4-FFF2-40B4-BE49-F238E27FC236}">
                <a16:creationId xmlns:a16="http://schemas.microsoft.com/office/drawing/2014/main" id="{FAF6130B-F0C8-0592-4514-CE41587DAA9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3021901"/>
            <a:ext cx="25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A9F47A74-1494-983E-D318-CC9379472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6524"/>
            <a:ext cx="11160000" cy="900000"/>
          </a:xfrm>
        </p:spPr>
        <p:txBody>
          <a:bodyPr/>
          <a:lstStyle>
            <a:lvl1pPr>
              <a:defRPr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1957153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Orange/Dunkel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001" y="5781691"/>
            <a:ext cx="2735998" cy="1076180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FF441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2B3BD57D-393F-4A91-A9DA-0333FE979F6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180766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HALT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">
            <a:extLst>
              <a:ext uri="{FF2B5EF4-FFF2-40B4-BE49-F238E27FC236}">
                <a16:creationId xmlns:a16="http://schemas.microsoft.com/office/drawing/2014/main" id="{97731A11-C713-C88D-BB91-277E0545AB4F}"/>
              </a:ext>
            </a:extLst>
          </p:cNvPr>
          <p:cNvSpPr txBox="1"/>
          <p:nvPr userDrawn="1"/>
        </p:nvSpPr>
        <p:spPr>
          <a:xfrm>
            <a:off x="0" y="2052228"/>
            <a:ext cx="12192000" cy="2753544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r>
              <a:rPr lang="de-DE" sz="11500" cap="all" baseline="0" dirty="0">
                <a:solidFill>
                  <a:srgbClr val="FF3EB5"/>
                </a:solidFill>
                <a:latin typeface="Montserrat Black" pitchFamily="2" charset="0"/>
              </a:rPr>
              <a:t>Zeitstrahl</a:t>
            </a:r>
            <a:endParaRPr lang="de-DE" sz="16600" cap="all" baseline="0" dirty="0">
              <a:solidFill>
                <a:srgbClr val="FF3EB5"/>
              </a:solidFill>
              <a:latin typeface="Montserrat Blac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084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ITSTRAHL | 4er, 1 Rei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E958D83D-8A7F-4BEC-B688-77D15B9E0C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818E358F-1086-37F9-B439-65AAFB3F242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06BB363-426A-4203-8B8B-FF6225E68286}" type="datetime4">
              <a:rPr lang="de-DE" smtClean="0"/>
              <a:t>3. Dezember 2025</a:t>
            </a:fld>
            <a:endParaRPr lang="de-DE" dirty="0"/>
          </a:p>
        </p:txBody>
      </p:sp>
      <p:cxnSp>
        <p:nvCxnSpPr>
          <p:cNvPr id="13" name="Zeitlinie">
            <a:extLst>
              <a:ext uri="{FF2B5EF4-FFF2-40B4-BE49-F238E27FC236}">
                <a16:creationId xmlns:a16="http://schemas.microsoft.com/office/drawing/2014/main" id="{C33DD79B-457C-7610-DB49-BC6540C21D6C}"/>
              </a:ext>
            </a:extLst>
          </p:cNvPr>
          <p:cNvCxnSpPr>
            <a:cxnSpLocks/>
          </p:cNvCxnSpPr>
          <p:nvPr userDrawn="1"/>
        </p:nvCxnSpPr>
        <p:spPr>
          <a:xfrm>
            <a:off x="336000" y="3440828"/>
            <a:ext cx="11520000" cy="0"/>
          </a:xfrm>
          <a:prstGeom prst="line">
            <a:avLst/>
          </a:prstGeom>
          <a:ln w="25400">
            <a:solidFill>
              <a:srgbClr val="1006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Bild-Nachweis4">
            <a:extLst>
              <a:ext uri="{FF2B5EF4-FFF2-40B4-BE49-F238E27FC236}">
                <a16:creationId xmlns:a16="http://schemas.microsoft.com/office/drawing/2014/main" id="{71FB3787-6546-332D-B086-3E60D4EEAB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324000" y="5668372"/>
            <a:ext cx="2376000" cy="144000"/>
          </a:xfrm>
        </p:spPr>
        <p:txBody>
          <a:bodyPr lIns="0" tIns="0" rIns="0" bIns="0" anchor="t" anchorCtr="0"/>
          <a:lstStyle>
            <a:lvl1pPr marL="0" indent="0" algn="ctr">
              <a:spcAft>
                <a:spcPts val="0"/>
              </a:spcAft>
              <a:buFontTx/>
              <a:buNone/>
              <a:defRPr sz="1000">
                <a:solidFill>
                  <a:srgbClr val="10065A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1" name="Bild-Platzhalter4">
            <a:extLst>
              <a:ext uri="{FF2B5EF4-FFF2-40B4-BE49-F238E27FC236}">
                <a16:creationId xmlns:a16="http://schemas.microsoft.com/office/drawing/2014/main" id="{AC98F108-CDD8-7DAF-086D-0B2106B4D43C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792000" y="4386845"/>
            <a:ext cx="1440000" cy="1238399"/>
          </a:xfrm>
          <a:prstGeom prst="snip2DiagRect">
            <a:avLst>
              <a:gd name="adj1" fmla="val 17229"/>
              <a:gd name="adj2" fmla="val 0"/>
            </a:avLst>
          </a:prstGeom>
          <a:solidFill>
            <a:schemeClr val="bg1">
              <a:lumMod val="85000"/>
            </a:schemeClr>
          </a:solidFill>
          <a:effectLst/>
        </p:spPr>
        <p:txBody>
          <a:bodyPr tIns="0" bIns="540000" anchor="ctr" anchorCtr="1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29" name="Bild-Überschrift4">
            <a:extLst>
              <a:ext uri="{FF2B5EF4-FFF2-40B4-BE49-F238E27FC236}">
                <a16:creationId xmlns:a16="http://schemas.microsoft.com/office/drawing/2014/main" id="{4FA59D71-DA69-82D7-F360-D5A10DEB84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324000" y="3740896"/>
            <a:ext cx="2376000" cy="584165"/>
          </a:xfrm>
        </p:spPr>
        <p:txBody>
          <a:bodyPr t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sz="1800" b="1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100"/>
              </a:spcBef>
              <a:buClr>
                <a:schemeClr val="bg1"/>
              </a:buClr>
              <a:buSzPct val="25000"/>
              <a:buNone/>
              <a:defRPr sz="1600">
                <a:solidFill>
                  <a:srgbClr val="10069F"/>
                </a:solidFill>
              </a:defRPr>
            </a:lvl2pPr>
          </a:lstStyle>
          <a:p>
            <a:pPr lvl="0"/>
            <a:r>
              <a:rPr lang="de-DE" dirty="0"/>
              <a:t>Bild-Text | zweite Ebene mit TAB!</a:t>
            </a:r>
          </a:p>
        </p:txBody>
      </p:sp>
      <p:sp>
        <p:nvSpPr>
          <p:cNvPr id="32" name="Punkt4">
            <a:extLst>
              <a:ext uri="{FF2B5EF4-FFF2-40B4-BE49-F238E27FC236}">
                <a16:creationId xmlns:a16="http://schemas.microsoft.com/office/drawing/2014/main" id="{870D6F98-7C3B-9AEF-05AB-BD8A20008D44}"/>
              </a:ext>
            </a:extLst>
          </p:cNvPr>
          <p:cNvSpPr/>
          <p:nvPr userDrawn="1"/>
        </p:nvSpPr>
        <p:spPr>
          <a:xfrm rot="5400000">
            <a:off x="10422000" y="3350828"/>
            <a:ext cx="180000" cy="180000"/>
          </a:xfrm>
          <a:prstGeom prst="ellipse">
            <a:avLst/>
          </a:prstGeom>
          <a:solidFill>
            <a:srgbClr val="FF3E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2" name="Gerader Verbinder4">
            <a:extLst>
              <a:ext uri="{FF2B5EF4-FFF2-40B4-BE49-F238E27FC236}">
                <a16:creationId xmlns:a16="http://schemas.microsoft.com/office/drawing/2014/main" id="{726F830F-CCAB-8F0A-A41D-A3C97E6B06FE}"/>
              </a:ext>
            </a:extLst>
          </p:cNvPr>
          <p:cNvCxnSpPr>
            <a:cxnSpLocks/>
            <a:stCxn id="33" idx="1"/>
            <a:endCxn id="32" idx="2"/>
          </p:cNvCxnSpPr>
          <p:nvPr userDrawn="1"/>
        </p:nvCxnSpPr>
        <p:spPr>
          <a:xfrm>
            <a:off x="10512000" y="3140760"/>
            <a:ext cx="0" cy="21006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-Platzhalter4">
            <a:extLst>
              <a:ext uri="{FF2B5EF4-FFF2-40B4-BE49-F238E27FC236}">
                <a16:creationId xmlns:a16="http://schemas.microsoft.com/office/drawing/2014/main" id="{9E8F8C8A-996A-6567-BA48-11FF8C1EFCD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324000" y="1268760"/>
            <a:ext cx="2376000" cy="1872000"/>
          </a:xfrm>
          <a:prstGeom prst="snip2DiagRect">
            <a:avLst>
              <a:gd name="adj1" fmla="val 16325"/>
              <a:gd name="adj2" fmla="val 0"/>
            </a:avLst>
          </a:prstGeom>
          <a:solidFill>
            <a:srgbClr val="10065A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25000"/>
              <a:buFontTx/>
              <a:buNone/>
              <a:defRPr sz="2000" b="1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Clr>
                <a:schemeClr val="tx2"/>
              </a:buClr>
              <a:buSzPct val="25000"/>
              <a:buFontTx/>
              <a:buNone/>
              <a:defRPr sz="18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Punkt-Text | zweite Ebene ggf. mit TAB!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40" name="Bild-Nachweis3">
            <a:extLst>
              <a:ext uri="{FF2B5EF4-FFF2-40B4-BE49-F238E27FC236}">
                <a16:creationId xmlns:a16="http://schemas.microsoft.com/office/drawing/2014/main" id="{12289A0E-F617-6533-CF2C-954FDB997A0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72000" y="5668372"/>
            <a:ext cx="2376000" cy="144000"/>
          </a:xfrm>
        </p:spPr>
        <p:txBody>
          <a:bodyPr lIns="0" tIns="0" rIns="0" bIns="0" anchor="t" anchorCtr="0"/>
          <a:lstStyle>
            <a:lvl1pPr marL="0" indent="0" algn="ctr">
              <a:spcAft>
                <a:spcPts val="0"/>
              </a:spcAft>
              <a:buFontTx/>
              <a:buNone/>
              <a:defRPr sz="1000">
                <a:solidFill>
                  <a:srgbClr val="10065A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41" name="Bild-Platzhalter3">
            <a:extLst>
              <a:ext uri="{FF2B5EF4-FFF2-40B4-BE49-F238E27FC236}">
                <a16:creationId xmlns:a16="http://schemas.microsoft.com/office/drawing/2014/main" id="{2BC7EBAF-6A5A-1947-BA8B-E7E141D29CE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6864000" y="4386845"/>
            <a:ext cx="1440000" cy="1238399"/>
          </a:xfrm>
          <a:prstGeom prst="snip2DiagRect">
            <a:avLst>
              <a:gd name="adj1" fmla="val 17229"/>
              <a:gd name="adj2" fmla="val 0"/>
            </a:avLst>
          </a:prstGeom>
          <a:solidFill>
            <a:schemeClr val="bg1">
              <a:lumMod val="85000"/>
            </a:schemeClr>
          </a:solidFill>
          <a:effectLst/>
        </p:spPr>
        <p:txBody>
          <a:bodyPr tIns="0" bIns="540000" anchor="ctr" anchorCtr="1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39" name="Bild-Überschrift3">
            <a:extLst>
              <a:ext uri="{FF2B5EF4-FFF2-40B4-BE49-F238E27FC236}">
                <a16:creationId xmlns:a16="http://schemas.microsoft.com/office/drawing/2014/main" id="{1CC1ED4E-175A-EC3A-C2F5-4E7D0BDAE00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72000" y="3740896"/>
            <a:ext cx="2376000" cy="584165"/>
          </a:xfrm>
        </p:spPr>
        <p:txBody>
          <a:bodyPr t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sz="1800" b="1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100"/>
              </a:spcBef>
              <a:buClr>
                <a:schemeClr val="bg1"/>
              </a:buClr>
              <a:buSzPct val="25000"/>
              <a:buNone/>
              <a:defRPr sz="1600">
                <a:solidFill>
                  <a:srgbClr val="10069F"/>
                </a:solidFill>
              </a:defRPr>
            </a:lvl2pPr>
          </a:lstStyle>
          <a:p>
            <a:pPr lvl="0"/>
            <a:r>
              <a:rPr lang="de-DE" dirty="0"/>
              <a:t>Bild-Text | zweite Ebene mit TAB!</a:t>
            </a:r>
          </a:p>
        </p:txBody>
      </p:sp>
      <p:sp>
        <p:nvSpPr>
          <p:cNvPr id="42" name="Punkt3">
            <a:extLst>
              <a:ext uri="{FF2B5EF4-FFF2-40B4-BE49-F238E27FC236}">
                <a16:creationId xmlns:a16="http://schemas.microsoft.com/office/drawing/2014/main" id="{9E100493-D22D-4167-A9FE-A86A8FFBC82E}"/>
              </a:ext>
            </a:extLst>
          </p:cNvPr>
          <p:cNvSpPr/>
          <p:nvPr userDrawn="1"/>
        </p:nvSpPr>
        <p:spPr>
          <a:xfrm rot="5400000">
            <a:off x="7494000" y="3350828"/>
            <a:ext cx="180000" cy="180000"/>
          </a:xfrm>
          <a:prstGeom prst="ellipse">
            <a:avLst/>
          </a:prstGeom>
          <a:solidFill>
            <a:srgbClr val="FF3E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9" name="Gerader Verbinder3">
            <a:extLst>
              <a:ext uri="{FF2B5EF4-FFF2-40B4-BE49-F238E27FC236}">
                <a16:creationId xmlns:a16="http://schemas.microsoft.com/office/drawing/2014/main" id="{5BE896F3-531F-33D4-9E58-E853F389A67B}"/>
              </a:ext>
            </a:extLst>
          </p:cNvPr>
          <p:cNvCxnSpPr>
            <a:cxnSpLocks/>
            <a:stCxn id="43" idx="1"/>
            <a:endCxn id="42" idx="2"/>
          </p:cNvCxnSpPr>
          <p:nvPr userDrawn="1"/>
        </p:nvCxnSpPr>
        <p:spPr>
          <a:xfrm>
            <a:off x="7584000" y="3140760"/>
            <a:ext cx="0" cy="21006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-Platzhalter3">
            <a:extLst>
              <a:ext uri="{FF2B5EF4-FFF2-40B4-BE49-F238E27FC236}">
                <a16:creationId xmlns:a16="http://schemas.microsoft.com/office/drawing/2014/main" id="{1F9EC69D-C134-9853-BF71-87891021998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96000" y="1268760"/>
            <a:ext cx="2376000" cy="1872000"/>
          </a:xfrm>
          <a:prstGeom prst="snip2DiagRect">
            <a:avLst>
              <a:gd name="adj1" fmla="val 16325"/>
              <a:gd name="adj2" fmla="val 0"/>
            </a:avLst>
          </a:prstGeom>
          <a:solidFill>
            <a:srgbClr val="10065A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25000"/>
              <a:buFontTx/>
              <a:buNone/>
              <a:defRPr sz="2000" b="1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Clr>
                <a:schemeClr val="tx2"/>
              </a:buClr>
              <a:buSzPct val="25000"/>
              <a:buFontTx/>
              <a:buNone/>
              <a:defRPr sz="18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Punkt-Text | zweite Ebene ggf. mit TAB!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35" name="Bild-Nachweis2">
            <a:extLst>
              <a:ext uri="{FF2B5EF4-FFF2-40B4-BE49-F238E27FC236}">
                <a16:creationId xmlns:a16="http://schemas.microsoft.com/office/drawing/2014/main" id="{BD4C840C-7754-78F0-5D76-DF1B889AFFF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456000" y="5668372"/>
            <a:ext cx="2376000" cy="144000"/>
          </a:xfrm>
        </p:spPr>
        <p:txBody>
          <a:bodyPr lIns="0" tIns="0" rIns="0" bIns="0" anchor="t" anchorCtr="0"/>
          <a:lstStyle>
            <a:lvl1pPr marL="0" indent="0" algn="ctr">
              <a:spcAft>
                <a:spcPts val="0"/>
              </a:spcAft>
              <a:buFontTx/>
              <a:buNone/>
              <a:defRPr sz="1000">
                <a:solidFill>
                  <a:srgbClr val="10065A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6" name="Bild-Platzhalter2">
            <a:extLst>
              <a:ext uri="{FF2B5EF4-FFF2-40B4-BE49-F238E27FC236}">
                <a16:creationId xmlns:a16="http://schemas.microsoft.com/office/drawing/2014/main" id="{9170F306-5910-BBEE-4895-4B2551E48E89}"/>
              </a:ext>
            </a:extLst>
          </p:cNvPr>
          <p:cNvSpPr>
            <a:spLocks noGrp="1" noChangeAspect="1"/>
          </p:cNvSpPr>
          <p:nvPr>
            <p:ph type="pic" sz="quarter" idx="50" hasCustomPrompt="1"/>
          </p:nvPr>
        </p:nvSpPr>
        <p:spPr>
          <a:xfrm>
            <a:off x="3936000" y="4386845"/>
            <a:ext cx="1440000" cy="1238399"/>
          </a:xfrm>
          <a:prstGeom prst="snip2DiagRect">
            <a:avLst>
              <a:gd name="adj1" fmla="val 17229"/>
              <a:gd name="adj2" fmla="val 0"/>
            </a:avLst>
          </a:prstGeom>
          <a:solidFill>
            <a:schemeClr val="bg1">
              <a:lumMod val="85000"/>
            </a:schemeClr>
          </a:solidFill>
          <a:effectLst/>
        </p:spPr>
        <p:txBody>
          <a:bodyPr tIns="0" bIns="540000" anchor="ctr" anchorCtr="1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34" name="Bild-Überschrift2">
            <a:extLst>
              <a:ext uri="{FF2B5EF4-FFF2-40B4-BE49-F238E27FC236}">
                <a16:creationId xmlns:a16="http://schemas.microsoft.com/office/drawing/2014/main" id="{70B38984-435C-BB59-ABF0-8003028C3C6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56000" y="3740896"/>
            <a:ext cx="2376000" cy="584165"/>
          </a:xfrm>
        </p:spPr>
        <p:txBody>
          <a:bodyPr t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sz="1800" b="1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100"/>
              </a:spcBef>
              <a:buClr>
                <a:schemeClr val="bg1"/>
              </a:buClr>
              <a:buSzPct val="25000"/>
              <a:buNone/>
              <a:defRPr sz="1600">
                <a:solidFill>
                  <a:srgbClr val="10069F"/>
                </a:solidFill>
              </a:defRPr>
            </a:lvl2pPr>
          </a:lstStyle>
          <a:p>
            <a:pPr lvl="0"/>
            <a:r>
              <a:rPr lang="de-DE" dirty="0"/>
              <a:t>Bild-Text | zweite Ebene mit TAB!</a:t>
            </a:r>
          </a:p>
        </p:txBody>
      </p:sp>
      <p:sp>
        <p:nvSpPr>
          <p:cNvPr id="37" name="Punkt2">
            <a:extLst>
              <a:ext uri="{FF2B5EF4-FFF2-40B4-BE49-F238E27FC236}">
                <a16:creationId xmlns:a16="http://schemas.microsoft.com/office/drawing/2014/main" id="{D203E83F-BC40-2C2C-4378-80BB9C858348}"/>
              </a:ext>
            </a:extLst>
          </p:cNvPr>
          <p:cNvSpPr/>
          <p:nvPr userDrawn="1"/>
        </p:nvSpPr>
        <p:spPr>
          <a:xfrm rot="5400000">
            <a:off x="4566000" y="3350828"/>
            <a:ext cx="180000" cy="180000"/>
          </a:xfrm>
          <a:prstGeom prst="ellipse">
            <a:avLst/>
          </a:prstGeom>
          <a:solidFill>
            <a:srgbClr val="FF3E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r Verbinder2">
            <a:extLst>
              <a:ext uri="{FF2B5EF4-FFF2-40B4-BE49-F238E27FC236}">
                <a16:creationId xmlns:a16="http://schemas.microsoft.com/office/drawing/2014/main" id="{5247EB30-A3A1-9F2E-9796-57630493A345}"/>
              </a:ext>
            </a:extLst>
          </p:cNvPr>
          <p:cNvCxnSpPr>
            <a:cxnSpLocks/>
            <a:stCxn id="38" idx="1"/>
            <a:endCxn id="37" idx="2"/>
          </p:cNvCxnSpPr>
          <p:nvPr userDrawn="1"/>
        </p:nvCxnSpPr>
        <p:spPr>
          <a:xfrm>
            <a:off x="4656000" y="3140760"/>
            <a:ext cx="0" cy="21006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-Platzhalter2">
            <a:extLst>
              <a:ext uri="{FF2B5EF4-FFF2-40B4-BE49-F238E27FC236}">
                <a16:creationId xmlns:a16="http://schemas.microsoft.com/office/drawing/2014/main" id="{F304D7EA-66D1-77FE-57BF-7FF48FB6299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468000" y="1268760"/>
            <a:ext cx="2376000" cy="1872000"/>
          </a:xfrm>
          <a:prstGeom prst="snip2DiagRect">
            <a:avLst>
              <a:gd name="adj1" fmla="val 16325"/>
              <a:gd name="adj2" fmla="val 0"/>
            </a:avLst>
          </a:prstGeom>
          <a:solidFill>
            <a:srgbClr val="10065A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25000"/>
              <a:buFontTx/>
              <a:buNone/>
              <a:defRPr sz="2000" b="1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Clr>
                <a:schemeClr val="tx2"/>
              </a:buClr>
              <a:buSzPct val="25000"/>
              <a:buFontTx/>
              <a:buNone/>
              <a:defRPr sz="18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Punkt-Text | zweite Ebene ggf. mit TAB!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7" name="Bild-Nachweis1">
            <a:extLst>
              <a:ext uri="{FF2B5EF4-FFF2-40B4-BE49-F238E27FC236}">
                <a16:creationId xmlns:a16="http://schemas.microsoft.com/office/drawing/2014/main" id="{CD06C3E5-07CA-F67A-8739-1118DD3580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5668372"/>
            <a:ext cx="2376000" cy="144000"/>
          </a:xfrm>
        </p:spPr>
        <p:txBody>
          <a:bodyPr lIns="0" tIns="0" rIns="0" bIns="0" anchor="t" anchorCtr="0"/>
          <a:lstStyle>
            <a:lvl1pPr marL="0" indent="0" algn="ctr">
              <a:spcAft>
                <a:spcPts val="0"/>
              </a:spcAft>
              <a:buFontTx/>
              <a:buNone/>
              <a:defRPr sz="1000">
                <a:solidFill>
                  <a:srgbClr val="10065A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Bild-Platzhalter1">
            <a:extLst>
              <a:ext uri="{FF2B5EF4-FFF2-40B4-BE49-F238E27FC236}">
                <a16:creationId xmlns:a16="http://schemas.microsoft.com/office/drawing/2014/main" id="{ABC8A402-36CD-7032-E8B1-1F30C3BE98E1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1008000" y="4386845"/>
            <a:ext cx="1440000" cy="1238399"/>
          </a:xfrm>
          <a:prstGeom prst="snip2DiagRect">
            <a:avLst>
              <a:gd name="adj1" fmla="val 17229"/>
              <a:gd name="adj2" fmla="val 0"/>
            </a:avLst>
          </a:prstGeom>
          <a:solidFill>
            <a:schemeClr val="bg1">
              <a:lumMod val="85000"/>
            </a:schemeClr>
          </a:solidFill>
          <a:effectLst/>
        </p:spPr>
        <p:txBody>
          <a:bodyPr tIns="0" bIns="540000" anchor="ctr" anchorCtr="1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18" name="Bild-Überschrift1">
            <a:extLst>
              <a:ext uri="{FF2B5EF4-FFF2-40B4-BE49-F238E27FC236}">
                <a16:creationId xmlns:a16="http://schemas.microsoft.com/office/drawing/2014/main" id="{CCAE5E21-45E2-E69A-B86F-E28EFEC0027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0000" y="3740896"/>
            <a:ext cx="2376000" cy="584165"/>
          </a:xfrm>
        </p:spPr>
        <p:txBody>
          <a:bodyPr t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sz="1800" b="1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100"/>
              </a:spcBef>
              <a:buClr>
                <a:schemeClr val="bg1"/>
              </a:buClr>
              <a:buSzPct val="25000"/>
              <a:buNone/>
              <a:defRPr sz="1600">
                <a:solidFill>
                  <a:srgbClr val="10069F"/>
                </a:solidFill>
              </a:defRPr>
            </a:lvl2pPr>
          </a:lstStyle>
          <a:p>
            <a:pPr lvl="0"/>
            <a:r>
              <a:rPr lang="de-DE" dirty="0"/>
              <a:t>Bild-Text | zweite Ebene mit TAB!</a:t>
            </a:r>
          </a:p>
        </p:txBody>
      </p:sp>
      <p:sp>
        <p:nvSpPr>
          <p:cNvPr id="14" name="Punkt1">
            <a:extLst>
              <a:ext uri="{FF2B5EF4-FFF2-40B4-BE49-F238E27FC236}">
                <a16:creationId xmlns:a16="http://schemas.microsoft.com/office/drawing/2014/main" id="{67A70F55-E0A1-5A51-BC68-2E93F5C33D00}"/>
              </a:ext>
            </a:extLst>
          </p:cNvPr>
          <p:cNvSpPr/>
          <p:nvPr userDrawn="1"/>
        </p:nvSpPr>
        <p:spPr>
          <a:xfrm rot="5400000">
            <a:off x="1638000" y="3350828"/>
            <a:ext cx="180000" cy="180000"/>
          </a:xfrm>
          <a:prstGeom prst="ellipse">
            <a:avLst/>
          </a:prstGeom>
          <a:solidFill>
            <a:srgbClr val="FF3E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" name="Gerader Verbinder1">
            <a:extLst>
              <a:ext uri="{FF2B5EF4-FFF2-40B4-BE49-F238E27FC236}">
                <a16:creationId xmlns:a16="http://schemas.microsoft.com/office/drawing/2014/main" id="{9697AD43-731C-B785-7717-D728BC81BCBA}"/>
              </a:ext>
            </a:extLst>
          </p:cNvPr>
          <p:cNvCxnSpPr>
            <a:cxnSpLocks/>
            <a:stCxn id="9" idx="1"/>
            <a:endCxn id="14" idx="2"/>
          </p:cNvCxnSpPr>
          <p:nvPr userDrawn="1"/>
        </p:nvCxnSpPr>
        <p:spPr>
          <a:xfrm>
            <a:off x="1728000" y="3140760"/>
            <a:ext cx="0" cy="21006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-Platzhalter1">
            <a:extLst>
              <a:ext uri="{FF2B5EF4-FFF2-40B4-BE49-F238E27FC236}">
                <a16:creationId xmlns:a16="http://schemas.microsoft.com/office/drawing/2014/main" id="{56552F69-1F49-FFF0-FE46-8BE226838CB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0000" y="1268760"/>
            <a:ext cx="2376000" cy="1872000"/>
          </a:xfrm>
          <a:prstGeom prst="snip2DiagRect">
            <a:avLst>
              <a:gd name="adj1" fmla="val 16325"/>
              <a:gd name="adj2" fmla="val 0"/>
            </a:avLst>
          </a:prstGeom>
          <a:solidFill>
            <a:srgbClr val="10065A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25000"/>
              <a:buFontTx/>
              <a:buNone/>
              <a:defRPr sz="2000" b="1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Clr>
                <a:schemeClr val="tx2"/>
              </a:buClr>
              <a:buSzPct val="25000"/>
              <a:buFontTx/>
              <a:buNone/>
              <a:defRPr sz="18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Punkt-Text | zweite Ebene ggf. mit TAB!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FCA5C25-60BB-F3F6-0379-671CFEEDEA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9663"/>
            <a:ext cx="11160000" cy="900000"/>
          </a:xfrm>
        </p:spPr>
        <p:txBody>
          <a:bodyPr/>
          <a:lstStyle/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947031355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ITSTRAHL | 4er, 2 Rei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">
            <a:extLst>
              <a:ext uri="{FF2B5EF4-FFF2-40B4-BE49-F238E27FC236}">
                <a16:creationId xmlns:a16="http://schemas.microsoft.com/office/drawing/2014/main" id="{E958D83D-8A7F-4BEC-B688-77D15B9E0C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818E358F-1086-37F9-B439-65AAFB3F242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3BCB09D-76AE-4A12-A256-E3297CF862A9}" type="datetime4">
              <a:rPr lang="de-DE" smtClean="0"/>
              <a:t>3. Dezember 2025</a:t>
            </a:fld>
            <a:endParaRPr lang="de-DE" dirty="0"/>
          </a:p>
        </p:txBody>
      </p:sp>
      <p:cxnSp>
        <p:nvCxnSpPr>
          <p:cNvPr id="13" name="Zeitlinie">
            <a:extLst>
              <a:ext uri="{FF2B5EF4-FFF2-40B4-BE49-F238E27FC236}">
                <a16:creationId xmlns:a16="http://schemas.microsoft.com/office/drawing/2014/main" id="{C33DD79B-457C-7610-DB49-BC6540C21D6C}"/>
              </a:ext>
            </a:extLst>
          </p:cNvPr>
          <p:cNvCxnSpPr>
            <a:cxnSpLocks/>
          </p:cNvCxnSpPr>
          <p:nvPr userDrawn="1"/>
        </p:nvCxnSpPr>
        <p:spPr>
          <a:xfrm>
            <a:off x="336000" y="3440828"/>
            <a:ext cx="11520000" cy="0"/>
          </a:xfrm>
          <a:prstGeom prst="line">
            <a:avLst/>
          </a:prstGeom>
          <a:ln w="25400">
            <a:solidFill>
              <a:srgbClr val="1006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Bild-Nachweis4">
            <a:extLst>
              <a:ext uri="{FF2B5EF4-FFF2-40B4-BE49-F238E27FC236}">
                <a16:creationId xmlns:a16="http://schemas.microsoft.com/office/drawing/2014/main" id="{71FB3787-6546-332D-B086-3E60D4EEAB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324000" y="3176988"/>
            <a:ext cx="2376000" cy="144000"/>
          </a:xfrm>
        </p:spPr>
        <p:txBody>
          <a:bodyPr lIns="0" tIns="0" rIns="0" bIns="0" anchor="t" anchorCtr="0"/>
          <a:lstStyle>
            <a:lvl1pPr marL="0" indent="0" algn="ctr">
              <a:spcAft>
                <a:spcPts val="0"/>
              </a:spcAft>
              <a:buFontTx/>
              <a:buNone/>
              <a:defRPr sz="1000">
                <a:solidFill>
                  <a:srgbClr val="10065A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1" name="Bild-Platzhalter4">
            <a:extLst>
              <a:ext uri="{FF2B5EF4-FFF2-40B4-BE49-F238E27FC236}">
                <a16:creationId xmlns:a16="http://schemas.microsoft.com/office/drawing/2014/main" id="{AC98F108-CDD8-7DAF-086D-0B2106B4D43C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792000" y="1902569"/>
            <a:ext cx="1440000" cy="1238399"/>
          </a:xfrm>
          <a:prstGeom prst="snip2DiagRect">
            <a:avLst>
              <a:gd name="adj1" fmla="val 17229"/>
              <a:gd name="adj2" fmla="val 0"/>
            </a:avLst>
          </a:prstGeom>
          <a:solidFill>
            <a:schemeClr val="bg1">
              <a:lumMod val="85000"/>
            </a:schemeClr>
          </a:solidFill>
          <a:effectLst/>
        </p:spPr>
        <p:txBody>
          <a:bodyPr tIns="0" bIns="540000" anchor="ctr" anchorCtr="1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29" name="Bild-Überschrift4">
            <a:extLst>
              <a:ext uri="{FF2B5EF4-FFF2-40B4-BE49-F238E27FC236}">
                <a16:creationId xmlns:a16="http://schemas.microsoft.com/office/drawing/2014/main" id="{4FA59D71-DA69-82D7-F360-D5A10DEB84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324000" y="1300110"/>
            <a:ext cx="2376000" cy="544714"/>
          </a:xfrm>
        </p:spPr>
        <p:txBody>
          <a:bodyPr t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sz="1800" b="1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100"/>
              </a:spcBef>
              <a:buClr>
                <a:schemeClr val="bg1"/>
              </a:buClr>
              <a:buSzPct val="25000"/>
              <a:buNone/>
              <a:defRPr sz="1600">
                <a:solidFill>
                  <a:srgbClr val="10069F"/>
                </a:solidFill>
              </a:defRPr>
            </a:lvl2pPr>
          </a:lstStyle>
          <a:p>
            <a:pPr lvl="0"/>
            <a:r>
              <a:rPr lang="de-DE" dirty="0"/>
              <a:t>Bild-Text | zweite Ebene mit TAB!</a:t>
            </a:r>
          </a:p>
        </p:txBody>
      </p:sp>
      <p:sp>
        <p:nvSpPr>
          <p:cNvPr id="32" name="Punkt4">
            <a:extLst>
              <a:ext uri="{FF2B5EF4-FFF2-40B4-BE49-F238E27FC236}">
                <a16:creationId xmlns:a16="http://schemas.microsoft.com/office/drawing/2014/main" id="{870D6F98-7C3B-9AEF-05AB-BD8A20008D44}"/>
              </a:ext>
            </a:extLst>
          </p:cNvPr>
          <p:cNvSpPr/>
          <p:nvPr userDrawn="1"/>
        </p:nvSpPr>
        <p:spPr>
          <a:xfrm rot="5400000">
            <a:off x="10422000" y="3350828"/>
            <a:ext cx="180000" cy="180000"/>
          </a:xfrm>
          <a:prstGeom prst="ellipse">
            <a:avLst/>
          </a:prstGeom>
          <a:solidFill>
            <a:srgbClr val="FF3E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2" name="Gerader Verbinder4">
            <a:extLst>
              <a:ext uri="{FF2B5EF4-FFF2-40B4-BE49-F238E27FC236}">
                <a16:creationId xmlns:a16="http://schemas.microsoft.com/office/drawing/2014/main" id="{726F830F-CCAB-8F0A-A41D-A3C97E6B06FE}"/>
              </a:ext>
            </a:extLst>
          </p:cNvPr>
          <p:cNvCxnSpPr>
            <a:cxnSpLocks/>
            <a:stCxn id="33" idx="3"/>
            <a:endCxn id="32" idx="6"/>
          </p:cNvCxnSpPr>
          <p:nvPr userDrawn="1"/>
        </p:nvCxnSpPr>
        <p:spPr>
          <a:xfrm flipV="1">
            <a:off x="10512000" y="3530828"/>
            <a:ext cx="0" cy="25165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-Platzhalter4">
            <a:extLst>
              <a:ext uri="{FF2B5EF4-FFF2-40B4-BE49-F238E27FC236}">
                <a16:creationId xmlns:a16="http://schemas.microsoft.com/office/drawing/2014/main" id="{9E8F8C8A-996A-6567-BA48-11FF8C1EFCD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324000" y="3782484"/>
            <a:ext cx="2376000" cy="1872000"/>
          </a:xfrm>
          <a:prstGeom prst="snip2DiagRect">
            <a:avLst>
              <a:gd name="adj1" fmla="val 16325"/>
              <a:gd name="adj2" fmla="val 0"/>
            </a:avLst>
          </a:prstGeom>
          <a:solidFill>
            <a:srgbClr val="10065A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25000"/>
              <a:buFontTx/>
              <a:buNone/>
              <a:defRPr sz="2000" b="1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Clr>
                <a:schemeClr val="tx2"/>
              </a:buClr>
              <a:buSzPct val="25000"/>
              <a:buFontTx/>
              <a:buNone/>
              <a:defRPr sz="18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Punkt-Text | zweite Ebene ggf. mit TAB!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40" name="Bild-Nachweis3">
            <a:extLst>
              <a:ext uri="{FF2B5EF4-FFF2-40B4-BE49-F238E27FC236}">
                <a16:creationId xmlns:a16="http://schemas.microsoft.com/office/drawing/2014/main" id="{12289A0E-F617-6533-CF2C-954FDB997A0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72000" y="5714222"/>
            <a:ext cx="2376000" cy="144000"/>
          </a:xfrm>
        </p:spPr>
        <p:txBody>
          <a:bodyPr lIns="0" tIns="0" rIns="0" bIns="0" anchor="t" anchorCtr="0"/>
          <a:lstStyle>
            <a:lvl1pPr marL="0" indent="0" algn="ctr">
              <a:spcAft>
                <a:spcPts val="0"/>
              </a:spcAft>
              <a:buFontTx/>
              <a:buNone/>
              <a:defRPr sz="1000">
                <a:solidFill>
                  <a:srgbClr val="10065A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41" name="Bild-Platzhalter3">
            <a:extLst>
              <a:ext uri="{FF2B5EF4-FFF2-40B4-BE49-F238E27FC236}">
                <a16:creationId xmlns:a16="http://schemas.microsoft.com/office/drawing/2014/main" id="{2BC7EBAF-6A5A-1947-BA8B-E7E141D29CE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6840000" y="4432695"/>
            <a:ext cx="1440000" cy="1238399"/>
          </a:xfrm>
          <a:prstGeom prst="snip2DiagRect">
            <a:avLst>
              <a:gd name="adj1" fmla="val 17229"/>
              <a:gd name="adj2" fmla="val 0"/>
            </a:avLst>
          </a:prstGeom>
          <a:solidFill>
            <a:schemeClr val="bg1">
              <a:lumMod val="85000"/>
            </a:schemeClr>
          </a:solidFill>
          <a:effectLst/>
        </p:spPr>
        <p:txBody>
          <a:bodyPr tIns="0" bIns="540000" anchor="ctr" anchorCtr="1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39" name="Bild-Überschrift3">
            <a:extLst>
              <a:ext uri="{FF2B5EF4-FFF2-40B4-BE49-F238E27FC236}">
                <a16:creationId xmlns:a16="http://schemas.microsoft.com/office/drawing/2014/main" id="{1CC1ED4E-175A-EC3A-C2F5-4E7D0BDAE00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72000" y="3820390"/>
            <a:ext cx="2376000" cy="544714"/>
          </a:xfrm>
        </p:spPr>
        <p:txBody>
          <a:bodyPr t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sz="1800" b="1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100"/>
              </a:spcBef>
              <a:buClr>
                <a:schemeClr val="bg1"/>
              </a:buClr>
              <a:buSzPct val="25000"/>
              <a:buNone/>
              <a:defRPr sz="1600">
                <a:solidFill>
                  <a:srgbClr val="10069F"/>
                </a:solidFill>
              </a:defRPr>
            </a:lvl2pPr>
          </a:lstStyle>
          <a:p>
            <a:pPr lvl="0"/>
            <a:r>
              <a:rPr lang="de-DE" dirty="0"/>
              <a:t>Bild-Text | zweite Ebene mit TAB!</a:t>
            </a:r>
          </a:p>
        </p:txBody>
      </p:sp>
      <p:sp>
        <p:nvSpPr>
          <p:cNvPr id="42" name="Punkt3">
            <a:extLst>
              <a:ext uri="{FF2B5EF4-FFF2-40B4-BE49-F238E27FC236}">
                <a16:creationId xmlns:a16="http://schemas.microsoft.com/office/drawing/2014/main" id="{9E100493-D22D-4167-A9FE-A86A8FFBC82E}"/>
              </a:ext>
            </a:extLst>
          </p:cNvPr>
          <p:cNvSpPr/>
          <p:nvPr userDrawn="1"/>
        </p:nvSpPr>
        <p:spPr>
          <a:xfrm rot="5400000">
            <a:off x="7494000" y="3350828"/>
            <a:ext cx="180000" cy="180000"/>
          </a:xfrm>
          <a:prstGeom prst="ellipse">
            <a:avLst/>
          </a:prstGeom>
          <a:solidFill>
            <a:srgbClr val="FF3E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9" name="Gerader Verbinder3">
            <a:extLst>
              <a:ext uri="{FF2B5EF4-FFF2-40B4-BE49-F238E27FC236}">
                <a16:creationId xmlns:a16="http://schemas.microsoft.com/office/drawing/2014/main" id="{5BE896F3-531F-33D4-9E58-E853F389A67B}"/>
              </a:ext>
            </a:extLst>
          </p:cNvPr>
          <p:cNvCxnSpPr>
            <a:cxnSpLocks/>
            <a:stCxn id="43" idx="1"/>
            <a:endCxn id="42" idx="2"/>
          </p:cNvCxnSpPr>
          <p:nvPr userDrawn="1"/>
        </p:nvCxnSpPr>
        <p:spPr>
          <a:xfrm>
            <a:off x="7584000" y="3140760"/>
            <a:ext cx="0" cy="21006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-Platzhalter3">
            <a:extLst>
              <a:ext uri="{FF2B5EF4-FFF2-40B4-BE49-F238E27FC236}">
                <a16:creationId xmlns:a16="http://schemas.microsoft.com/office/drawing/2014/main" id="{1F9EC69D-C134-9853-BF71-87891021998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96000" y="1268760"/>
            <a:ext cx="2376000" cy="1872000"/>
          </a:xfrm>
          <a:prstGeom prst="snip2DiagRect">
            <a:avLst>
              <a:gd name="adj1" fmla="val 16325"/>
              <a:gd name="adj2" fmla="val 0"/>
            </a:avLst>
          </a:prstGeom>
          <a:solidFill>
            <a:srgbClr val="10065A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25000"/>
              <a:buFontTx/>
              <a:buNone/>
              <a:defRPr sz="2000" b="1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Clr>
                <a:schemeClr val="tx2"/>
              </a:buClr>
              <a:buSzPct val="25000"/>
              <a:buFontTx/>
              <a:buNone/>
              <a:defRPr sz="18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Punkt-Text | zweite Ebene ggf. mit TAB!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35" name="Bild-Nachweis2">
            <a:extLst>
              <a:ext uri="{FF2B5EF4-FFF2-40B4-BE49-F238E27FC236}">
                <a16:creationId xmlns:a16="http://schemas.microsoft.com/office/drawing/2014/main" id="{BD4C840C-7754-78F0-5D76-DF1B889AFFF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456000" y="3176988"/>
            <a:ext cx="2376000" cy="144000"/>
          </a:xfrm>
        </p:spPr>
        <p:txBody>
          <a:bodyPr lIns="0" tIns="0" rIns="0" bIns="0" anchor="t" anchorCtr="0"/>
          <a:lstStyle>
            <a:lvl1pPr marL="0" indent="0" algn="ctr">
              <a:spcAft>
                <a:spcPts val="0"/>
              </a:spcAft>
              <a:buFontTx/>
              <a:buNone/>
              <a:defRPr sz="1000">
                <a:solidFill>
                  <a:srgbClr val="10065A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36" name="Bild-Platzhalter2">
            <a:extLst>
              <a:ext uri="{FF2B5EF4-FFF2-40B4-BE49-F238E27FC236}">
                <a16:creationId xmlns:a16="http://schemas.microsoft.com/office/drawing/2014/main" id="{9170F306-5910-BBEE-4895-4B2551E48E89}"/>
              </a:ext>
            </a:extLst>
          </p:cNvPr>
          <p:cNvSpPr>
            <a:spLocks noGrp="1" noChangeAspect="1"/>
          </p:cNvSpPr>
          <p:nvPr>
            <p:ph type="pic" sz="quarter" idx="50" hasCustomPrompt="1"/>
          </p:nvPr>
        </p:nvSpPr>
        <p:spPr>
          <a:xfrm>
            <a:off x="3924000" y="1902569"/>
            <a:ext cx="1440000" cy="1238399"/>
          </a:xfrm>
          <a:prstGeom prst="snip2DiagRect">
            <a:avLst>
              <a:gd name="adj1" fmla="val 17229"/>
              <a:gd name="adj2" fmla="val 0"/>
            </a:avLst>
          </a:prstGeom>
          <a:solidFill>
            <a:schemeClr val="bg1">
              <a:lumMod val="85000"/>
            </a:schemeClr>
          </a:solidFill>
          <a:effectLst/>
        </p:spPr>
        <p:txBody>
          <a:bodyPr tIns="0" bIns="540000" anchor="ctr" anchorCtr="1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34" name="Bild-Überschrift2">
            <a:extLst>
              <a:ext uri="{FF2B5EF4-FFF2-40B4-BE49-F238E27FC236}">
                <a16:creationId xmlns:a16="http://schemas.microsoft.com/office/drawing/2014/main" id="{70B38984-435C-BB59-ABF0-8003028C3C6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56000" y="1300110"/>
            <a:ext cx="2376000" cy="544714"/>
          </a:xfrm>
        </p:spPr>
        <p:txBody>
          <a:bodyPr t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sz="1800" b="1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100"/>
              </a:spcBef>
              <a:buClr>
                <a:schemeClr val="bg1"/>
              </a:buClr>
              <a:buSzPct val="25000"/>
              <a:buNone/>
              <a:defRPr sz="1600">
                <a:solidFill>
                  <a:srgbClr val="10069F"/>
                </a:solidFill>
              </a:defRPr>
            </a:lvl2pPr>
          </a:lstStyle>
          <a:p>
            <a:pPr lvl="0"/>
            <a:r>
              <a:rPr lang="de-DE" dirty="0"/>
              <a:t>Bild-Text | zweite Ebene mit TAB!</a:t>
            </a:r>
          </a:p>
        </p:txBody>
      </p:sp>
      <p:sp>
        <p:nvSpPr>
          <p:cNvPr id="37" name="Punkt2">
            <a:extLst>
              <a:ext uri="{FF2B5EF4-FFF2-40B4-BE49-F238E27FC236}">
                <a16:creationId xmlns:a16="http://schemas.microsoft.com/office/drawing/2014/main" id="{D203E83F-BC40-2C2C-4378-80BB9C858348}"/>
              </a:ext>
            </a:extLst>
          </p:cNvPr>
          <p:cNvSpPr/>
          <p:nvPr userDrawn="1"/>
        </p:nvSpPr>
        <p:spPr>
          <a:xfrm rot="5400000">
            <a:off x="4566000" y="3350828"/>
            <a:ext cx="180000" cy="180000"/>
          </a:xfrm>
          <a:prstGeom prst="ellipse">
            <a:avLst/>
          </a:prstGeom>
          <a:solidFill>
            <a:srgbClr val="FF3E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r Verbinder2">
            <a:extLst>
              <a:ext uri="{FF2B5EF4-FFF2-40B4-BE49-F238E27FC236}">
                <a16:creationId xmlns:a16="http://schemas.microsoft.com/office/drawing/2014/main" id="{5247EB30-A3A1-9F2E-9796-57630493A345}"/>
              </a:ext>
            </a:extLst>
          </p:cNvPr>
          <p:cNvCxnSpPr>
            <a:cxnSpLocks/>
            <a:stCxn id="38" idx="3"/>
            <a:endCxn id="37" idx="6"/>
          </p:cNvCxnSpPr>
          <p:nvPr userDrawn="1"/>
        </p:nvCxnSpPr>
        <p:spPr>
          <a:xfrm flipV="1">
            <a:off x="4656000" y="3530828"/>
            <a:ext cx="0" cy="25165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-Platzhalter2">
            <a:extLst>
              <a:ext uri="{FF2B5EF4-FFF2-40B4-BE49-F238E27FC236}">
                <a16:creationId xmlns:a16="http://schemas.microsoft.com/office/drawing/2014/main" id="{F304D7EA-66D1-77FE-57BF-7FF48FB6299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468000" y="3782484"/>
            <a:ext cx="2376000" cy="1872000"/>
          </a:xfrm>
          <a:prstGeom prst="snip2DiagRect">
            <a:avLst>
              <a:gd name="adj1" fmla="val 16325"/>
              <a:gd name="adj2" fmla="val 0"/>
            </a:avLst>
          </a:prstGeom>
          <a:solidFill>
            <a:srgbClr val="10065A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25000"/>
              <a:buFontTx/>
              <a:buNone/>
              <a:defRPr sz="2000" b="1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Clr>
                <a:schemeClr val="tx2"/>
              </a:buClr>
              <a:buSzPct val="25000"/>
              <a:buFontTx/>
              <a:buNone/>
              <a:defRPr sz="18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Punkt-Text | zweite Ebene ggf. mit TAB!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7" name="Bild-Nachweis1">
            <a:extLst>
              <a:ext uri="{FF2B5EF4-FFF2-40B4-BE49-F238E27FC236}">
                <a16:creationId xmlns:a16="http://schemas.microsoft.com/office/drawing/2014/main" id="{CD06C3E5-07CA-F67A-8739-1118DD3580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0000" y="5714222"/>
            <a:ext cx="2376000" cy="144000"/>
          </a:xfrm>
        </p:spPr>
        <p:txBody>
          <a:bodyPr lIns="0" tIns="0" rIns="0" bIns="0" anchor="t" anchorCtr="0"/>
          <a:lstStyle>
            <a:lvl1pPr marL="0" indent="0" algn="ctr">
              <a:spcAft>
                <a:spcPts val="0"/>
              </a:spcAft>
              <a:buFontTx/>
              <a:buNone/>
              <a:defRPr sz="1000">
                <a:solidFill>
                  <a:srgbClr val="10065A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Bild-Platzhalter1">
            <a:extLst>
              <a:ext uri="{FF2B5EF4-FFF2-40B4-BE49-F238E27FC236}">
                <a16:creationId xmlns:a16="http://schemas.microsoft.com/office/drawing/2014/main" id="{ABC8A402-36CD-7032-E8B1-1F30C3BE98E1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1008000" y="4432695"/>
            <a:ext cx="1440000" cy="1238399"/>
          </a:xfrm>
          <a:prstGeom prst="snip2DiagRect">
            <a:avLst>
              <a:gd name="adj1" fmla="val 17229"/>
              <a:gd name="adj2" fmla="val 0"/>
            </a:avLst>
          </a:prstGeom>
          <a:solidFill>
            <a:schemeClr val="bg1">
              <a:lumMod val="85000"/>
            </a:schemeClr>
          </a:solidFill>
          <a:effectLst/>
        </p:spPr>
        <p:txBody>
          <a:bodyPr tIns="0" bIns="540000" anchor="ctr" anchorCtr="1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18" name="Bild-Überschrift1">
            <a:extLst>
              <a:ext uri="{FF2B5EF4-FFF2-40B4-BE49-F238E27FC236}">
                <a16:creationId xmlns:a16="http://schemas.microsoft.com/office/drawing/2014/main" id="{CCAE5E21-45E2-E69A-B86F-E28EFEC0027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0000" y="3820390"/>
            <a:ext cx="2376000" cy="544714"/>
          </a:xfrm>
        </p:spPr>
        <p:txBody>
          <a:bodyPr t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sz="1800" b="1" i="0">
                <a:solidFill>
                  <a:srgbClr val="1006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100"/>
              </a:spcBef>
              <a:buClr>
                <a:schemeClr val="bg1"/>
              </a:buClr>
              <a:buSzPct val="25000"/>
              <a:buNone/>
              <a:defRPr sz="1600">
                <a:solidFill>
                  <a:srgbClr val="10069F"/>
                </a:solidFill>
              </a:defRPr>
            </a:lvl2pPr>
          </a:lstStyle>
          <a:p>
            <a:pPr lvl="0"/>
            <a:r>
              <a:rPr lang="de-DE" dirty="0"/>
              <a:t>Bild-Text | zweite Ebene mit TAB!</a:t>
            </a:r>
          </a:p>
        </p:txBody>
      </p:sp>
      <p:sp>
        <p:nvSpPr>
          <p:cNvPr id="14" name="Punkt1">
            <a:extLst>
              <a:ext uri="{FF2B5EF4-FFF2-40B4-BE49-F238E27FC236}">
                <a16:creationId xmlns:a16="http://schemas.microsoft.com/office/drawing/2014/main" id="{67A70F55-E0A1-5A51-BC68-2E93F5C33D00}"/>
              </a:ext>
            </a:extLst>
          </p:cNvPr>
          <p:cNvSpPr/>
          <p:nvPr userDrawn="1"/>
        </p:nvSpPr>
        <p:spPr>
          <a:xfrm rot="5400000">
            <a:off x="1638000" y="3350828"/>
            <a:ext cx="180000" cy="180000"/>
          </a:xfrm>
          <a:prstGeom prst="ellipse">
            <a:avLst/>
          </a:prstGeom>
          <a:solidFill>
            <a:srgbClr val="FF3E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" name="Gerader Verbinder1">
            <a:extLst>
              <a:ext uri="{FF2B5EF4-FFF2-40B4-BE49-F238E27FC236}">
                <a16:creationId xmlns:a16="http://schemas.microsoft.com/office/drawing/2014/main" id="{9697AD43-731C-B785-7717-D728BC81BCBA}"/>
              </a:ext>
            </a:extLst>
          </p:cNvPr>
          <p:cNvCxnSpPr>
            <a:cxnSpLocks/>
            <a:stCxn id="9" idx="1"/>
            <a:endCxn id="14" idx="2"/>
          </p:cNvCxnSpPr>
          <p:nvPr userDrawn="1"/>
        </p:nvCxnSpPr>
        <p:spPr>
          <a:xfrm>
            <a:off x="1728000" y="3140760"/>
            <a:ext cx="0" cy="21006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-Platzhalter1">
            <a:extLst>
              <a:ext uri="{FF2B5EF4-FFF2-40B4-BE49-F238E27FC236}">
                <a16:creationId xmlns:a16="http://schemas.microsoft.com/office/drawing/2014/main" id="{56552F69-1F49-FFF0-FE46-8BE226838CB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0000" y="1268760"/>
            <a:ext cx="2376000" cy="1872000"/>
          </a:xfrm>
          <a:prstGeom prst="snip2DiagRect">
            <a:avLst>
              <a:gd name="adj1" fmla="val 16325"/>
              <a:gd name="adj2" fmla="val 0"/>
            </a:avLst>
          </a:prstGeom>
          <a:solidFill>
            <a:srgbClr val="10065A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25000"/>
              <a:buFontTx/>
              <a:buNone/>
              <a:defRPr sz="2000" b="1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Clr>
                <a:schemeClr val="tx2"/>
              </a:buClr>
              <a:buSzPct val="25000"/>
              <a:buFontTx/>
              <a:buNone/>
              <a:defRPr sz="18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Punkt-Text | zweite Ebene ggf. mit TAB!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FCA5C25-60BB-F3F6-0379-671CFEEDEA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9663"/>
            <a:ext cx="11160000" cy="900000"/>
          </a:xfrm>
        </p:spPr>
        <p:txBody>
          <a:bodyPr/>
          <a:lstStyle/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73743981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ITSTRAHL | 8er, 2 Rei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Zeitlinie">
            <a:extLst>
              <a:ext uri="{FF2B5EF4-FFF2-40B4-BE49-F238E27FC236}">
                <a16:creationId xmlns:a16="http://schemas.microsoft.com/office/drawing/2014/main" id="{C33DD79B-457C-7610-DB49-BC6540C21D6C}"/>
              </a:ext>
            </a:extLst>
          </p:cNvPr>
          <p:cNvCxnSpPr>
            <a:cxnSpLocks/>
          </p:cNvCxnSpPr>
          <p:nvPr userDrawn="1"/>
        </p:nvCxnSpPr>
        <p:spPr>
          <a:xfrm>
            <a:off x="336000" y="3573110"/>
            <a:ext cx="11520000" cy="0"/>
          </a:xfrm>
          <a:prstGeom prst="line">
            <a:avLst/>
          </a:prstGeom>
          <a:ln w="25400">
            <a:solidFill>
              <a:srgbClr val="1006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">
            <a:extLst>
              <a:ext uri="{FF2B5EF4-FFF2-40B4-BE49-F238E27FC236}">
                <a16:creationId xmlns:a16="http://schemas.microsoft.com/office/drawing/2014/main" id="{E958D83D-8A7F-4BEC-B688-77D15B9E0C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818E358F-1086-37F9-B439-65AAFB3F242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3B36E05-3106-42CE-AE7B-2CB7311B4B1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4" name="Sprechblase8">
            <a:extLst>
              <a:ext uri="{FF2B5EF4-FFF2-40B4-BE49-F238E27FC236}">
                <a16:creationId xmlns:a16="http://schemas.microsoft.com/office/drawing/2014/main" id="{54A0B910-7499-1548-BC94-150DBC0FD122}"/>
              </a:ext>
            </a:extLst>
          </p:cNvPr>
          <p:cNvSpPr>
            <a:spLocks noChangeAspect="1"/>
          </p:cNvSpPr>
          <p:nvPr userDrawn="1"/>
        </p:nvSpPr>
        <p:spPr>
          <a:xfrm>
            <a:off x="10193631" y="4331409"/>
            <a:ext cx="1506369" cy="1297421"/>
          </a:xfrm>
          <a:prstGeom prst="wedgeRoundRectCallout">
            <a:avLst>
              <a:gd name="adj1" fmla="val 1823"/>
              <a:gd name="adj2" fmla="val -87155"/>
              <a:gd name="adj3" fmla="val 16667"/>
            </a:avLst>
          </a:prstGeom>
          <a:noFill/>
          <a:ln w="76200" cap="sq">
            <a:solidFill>
              <a:srgbClr val="FF4414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11500" b="1" dirty="0">
                <a:solidFill>
                  <a:srgbClr val="FF4414"/>
                </a:solidFill>
                <a:latin typeface="Source Sans Pro" panose="020B0503030403020204" pitchFamily="34" charset="0"/>
              </a:rPr>
              <a:t>8</a:t>
            </a:r>
          </a:p>
        </p:txBody>
      </p:sp>
      <p:sp>
        <p:nvSpPr>
          <p:cNvPr id="32" name="Punkt8">
            <a:extLst>
              <a:ext uri="{FF2B5EF4-FFF2-40B4-BE49-F238E27FC236}">
                <a16:creationId xmlns:a16="http://schemas.microsoft.com/office/drawing/2014/main" id="{870D6F98-7C3B-9AEF-05AB-BD8A20008D44}"/>
              </a:ext>
            </a:extLst>
          </p:cNvPr>
          <p:cNvSpPr/>
          <p:nvPr userDrawn="1"/>
        </p:nvSpPr>
        <p:spPr>
          <a:xfrm rot="5400000">
            <a:off x="10760997" y="3483110"/>
            <a:ext cx="180000" cy="180000"/>
          </a:xfrm>
          <a:prstGeom prst="ellipse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Bild-Nachweis7">
            <a:extLst>
              <a:ext uri="{FF2B5EF4-FFF2-40B4-BE49-F238E27FC236}">
                <a16:creationId xmlns:a16="http://schemas.microsoft.com/office/drawing/2014/main" id="{71FB3787-6546-332D-B086-3E60D4EEAB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359710" y="3280624"/>
            <a:ext cx="2376000" cy="144000"/>
          </a:xfrm>
        </p:spPr>
        <p:txBody>
          <a:bodyPr lIns="0" tIns="0" rIns="0" bIns="0" anchor="t" anchorCtr="0"/>
          <a:lstStyle>
            <a:lvl1pPr marL="0" indent="0" algn="ctr">
              <a:spcAft>
                <a:spcPts val="0"/>
              </a:spcAft>
              <a:buFontTx/>
              <a:buNone/>
              <a:defRPr sz="1000">
                <a:solidFill>
                  <a:srgbClr val="10069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1" name="Bild-Platzhalter7">
            <a:extLst>
              <a:ext uri="{FF2B5EF4-FFF2-40B4-BE49-F238E27FC236}">
                <a16:creationId xmlns:a16="http://schemas.microsoft.com/office/drawing/2014/main" id="{25D9DF0E-AE9B-A58A-6C7F-7211485626F7}"/>
              </a:ext>
            </a:extLst>
          </p:cNvPr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8611710" y="1636736"/>
            <a:ext cx="1872000" cy="1622400"/>
          </a:xfrm>
          <a:prstGeom prst="snip2DiagRect">
            <a:avLst>
              <a:gd name="adj1" fmla="val 17229"/>
              <a:gd name="adj2" fmla="val 0"/>
            </a:avLst>
          </a:prstGeom>
          <a:solidFill>
            <a:schemeClr val="bg1">
              <a:lumMod val="85000"/>
            </a:schemeClr>
          </a:solidFill>
          <a:effectLst/>
        </p:spPr>
        <p:txBody>
          <a:bodyPr tIns="0" bIns="540000" anchor="ctr" anchorCtr="1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10" name="Punkt7">
            <a:extLst>
              <a:ext uri="{FF2B5EF4-FFF2-40B4-BE49-F238E27FC236}">
                <a16:creationId xmlns:a16="http://schemas.microsoft.com/office/drawing/2014/main" id="{27944516-363E-776D-74F3-BB786CB3BB04}"/>
              </a:ext>
            </a:extLst>
          </p:cNvPr>
          <p:cNvSpPr/>
          <p:nvPr userDrawn="1"/>
        </p:nvSpPr>
        <p:spPr>
          <a:xfrm rot="5400000">
            <a:off x="9457710" y="3483110"/>
            <a:ext cx="180000" cy="180000"/>
          </a:xfrm>
          <a:prstGeom prst="ellipse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Text-Platzhalter6">
            <a:extLst>
              <a:ext uri="{FF2B5EF4-FFF2-40B4-BE49-F238E27FC236}">
                <a16:creationId xmlns:a16="http://schemas.microsoft.com/office/drawing/2014/main" id="{9806C51F-69DA-33BA-6205-E853FF0F34DD}"/>
              </a:ext>
            </a:extLst>
          </p:cNvPr>
          <p:cNvSpPr>
            <a:spLocks noGrp="1" noChangeAspect="1"/>
          </p:cNvSpPr>
          <p:nvPr>
            <p:ph type="body" sz="quarter" idx="57" hasCustomPrompt="1"/>
          </p:nvPr>
        </p:nvSpPr>
        <p:spPr>
          <a:xfrm>
            <a:off x="7491194" y="3756119"/>
            <a:ext cx="1506462" cy="1224000"/>
          </a:xfrm>
          <a:prstGeom prst="snip2DiagRect">
            <a:avLst>
              <a:gd name="adj1" fmla="val 16325"/>
              <a:gd name="adj2" fmla="val 0"/>
            </a:avLst>
          </a:prstGeom>
          <a:solidFill>
            <a:srgbClr val="10069F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25000"/>
              <a:buFontTx/>
              <a:buNone/>
              <a:defRPr sz="1600" b="1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Clr>
                <a:schemeClr val="tx2"/>
              </a:buClr>
              <a:buSzPct val="25000"/>
              <a:buFontTx/>
              <a:buNone/>
              <a:defRPr sz="14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 | zweite Ebene  ggf. mit TAB! Ebene</a:t>
            </a:r>
          </a:p>
        </p:txBody>
      </p:sp>
      <p:sp>
        <p:nvSpPr>
          <p:cNvPr id="8" name="Punkt6">
            <a:extLst>
              <a:ext uri="{FF2B5EF4-FFF2-40B4-BE49-F238E27FC236}">
                <a16:creationId xmlns:a16="http://schemas.microsoft.com/office/drawing/2014/main" id="{34609750-AA6D-D00C-2DCD-ED8DC3790A7C}"/>
              </a:ext>
            </a:extLst>
          </p:cNvPr>
          <p:cNvSpPr/>
          <p:nvPr userDrawn="1"/>
        </p:nvSpPr>
        <p:spPr>
          <a:xfrm rot="5400000">
            <a:off x="8154425" y="3483110"/>
            <a:ext cx="180000" cy="180000"/>
          </a:xfrm>
          <a:prstGeom prst="ellipse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Sprechblase5">
            <a:extLst>
              <a:ext uri="{FF2B5EF4-FFF2-40B4-BE49-F238E27FC236}">
                <a16:creationId xmlns:a16="http://schemas.microsoft.com/office/drawing/2014/main" id="{A9848C61-46EB-894A-59CD-E144D2BBD9D1}"/>
              </a:ext>
            </a:extLst>
          </p:cNvPr>
          <p:cNvSpPr>
            <a:spLocks noChangeAspect="1"/>
          </p:cNvSpPr>
          <p:nvPr userDrawn="1"/>
        </p:nvSpPr>
        <p:spPr>
          <a:xfrm>
            <a:off x="6162310" y="1319566"/>
            <a:ext cx="1590373" cy="1520627"/>
          </a:xfrm>
          <a:prstGeom prst="wedgeRoundRectCallout">
            <a:avLst>
              <a:gd name="adj1" fmla="val -5796"/>
              <a:gd name="adj2" fmla="val 81639"/>
              <a:gd name="adj3" fmla="val 16667"/>
            </a:avLst>
          </a:prstGeom>
          <a:noFill/>
          <a:ln w="82550" cap="sq">
            <a:solidFill>
              <a:srgbClr val="FF3EB5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11500" b="1" dirty="0">
                <a:solidFill>
                  <a:srgbClr val="FF3EB5"/>
                </a:solidFill>
                <a:latin typeface="Source Sans Pro" panose="020B0503030403020204" pitchFamily="34" charset="0"/>
              </a:rPr>
              <a:t>5</a:t>
            </a:r>
          </a:p>
        </p:txBody>
      </p:sp>
      <p:sp>
        <p:nvSpPr>
          <p:cNvPr id="42" name="Punkt5">
            <a:extLst>
              <a:ext uri="{FF2B5EF4-FFF2-40B4-BE49-F238E27FC236}">
                <a16:creationId xmlns:a16="http://schemas.microsoft.com/office/drawing/2014/main" id="{9E100493-D22D-4167-A9FE-A86A8FFBC82E}"/>
              </a:ext>
            </a:extLst>
          </p:cNvPr>
          <p:cNvSpPr/>
          <p:nvPr userDrawn="1"/>
        </p:nvSpPr>
        <p:spPr>
          <a:xfrm rot="5400000">
            <a:off x="6851140" y="3483110"/>
            <a:ext cx="180000" cy="180000"/>
          </a:xfrm>
          <a:prstGeom prst="ellipse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Bild-Nachweis4">
            <a:extLst>
              <a:ext uri="{FF2B5EF4-FFF2-40B4-BE49-F238E27FC236}">
                <a16:creationId xmlns:a16="http://schemas.microsoft.com/office/drawing/2014/main" id="{CD06C3E5-07CA-F67A-8739-1118DD3580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59855" y="5736655"/>
            <a:ext cx="2376000" cy="144000"/>
          </a:xfrm>
        </p:spPr>
        <p:txBody>
          <a:bodyPr lIns="0" tIns="0" rIns="0" bIns="0" anchor="t" anchorCtr="0"/>
          <a:lstStyle>
            <a:lvl1pPr marL="0" indent="0" algn="ctr">
              <a:spcAft>
                <a:spcPts val="0"/>
              </a:spcAft>
              <a:buFontTx/>
              <a:buNone/>
              <a:defRPr sz="1000">
                <a:solidFill>
                  <a:srgbClr val="10ADAA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28" name="Bild-Platzhalter4">
            <a:extLst>
              <a:ext uri="{FF2B5EF4-FFF2-40B4-BE49-F238E27FC236}">
                <a16:creationId xmlns:a16="http://schemas.microsoft.com/office/drawing/2014/main" id="{ABC8A402-36CD-7032-E8B1-1F30C3BE98E1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4557855" y="3832167"/>
            <a:ext cx="2160000" cy="1872000"/>
          </a:xfrm>
          <a:prstGeom prst="snip2DiagRect">
            <a:avLst>
              <a:gd name="adj1" fmla="val 17229"/>
              <a:gd name="adj2" fmla="val 0"/>
            </a:avLst>
          </a:prstGeom>
          <a:solidFill>
            <a:schemeClr val="bg1">
              <a:lumMod val="85000"/>
            </a:schemeClr>
          </a:solidFill>
          <a:effectLst/>
        </p:spPr>
        <p:txBody>
          <a:bodyPr tIns="0" bIns="540000" anchor="ctr" anchorCtr="1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Bild einfügen!</a:t>
            </a:r>
          </a:p>
        </p:txBody>
      </p:sp>
      <p:sp>
        <p:nvSpPr>
          <p:cNvPr id="7" name="Punkt4">
            <a:extLst>
              <a:ext uri="{FF2B5EF4-FFF2-40B4-BE49-F238E27FC236}">
                <a16:creationId xmlns:a16="http://schemas.microsoft.com/office/drawing/2014/main" id="{410E2F12-5828-C9A9-F3F0-051918E22614}"/>
              </a:ext>
            </a:extLst>
          </p:cNvPr>
          <p:cNvSpPr/>
          <p:nvPr userDrawn="1"/>
        </p:nvSpPr>
        <p:spPr>
          <a:xfrm rot="5400000">
            <a:off x="5547855" y="3483110"/>
            <a:ext cx="180000" cy="180000"/>
          </a:xfrm>
          <a:prstGeom prst="ellipse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-Platzhalter3">
            <a:extLst>
              <a:ext uri="{FF2B5EF4-FFF2-40B4-BE49-F238E27FC236}">
                <a16:creationId xmlns:a16="http://schemas.microsoft.com/office/drawing/2014/main" id="{F304D7EA-66D1-77FE-57BF-7FF48FB62993}"/>
              </a:ext>
            </a:extLst>
          </p:cNvPr>
          <p:cNvSpPr>
            <a:spLocks noGrp="1" noChangeAspect="1"/>
          </p:cNvSpPr>
          <p:nvPr>
            <p:ph type="body" sz="quarter" idx="51" hasCustomPrompt="1"/>
          </p:nvPr>
        </p:nvSpPr>
        <p:spPr>
          <a:xfrm>
            <a:off x="3580291" y="2202812"/>
            <a:ext cx="1506462" cy="1224000"/>
          </a:xfrm>
          <a:prstGeom prst="snip2DiagRect">
            <a:avLst>
              <a:gd name="adj1" fmla="val 16325"/>
              <a:gd name="adj2" fmla="val 0"/>
            </a:avLst>
          </a:prstGeom>
          <a:solidFill>
            <a:srgbClr val="10ADAA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25000"/>
              <a:buFontTx/>
              <a:buNone/>
              <a:defRPr sz="1600" b="1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Clr>
                <a:schemeClr val="tx2"/>
              </a:buClr>
              <a:buSzPct val="25000"/>
              <a:buFontTx/>
              <a:buNone/>
              <a:defRPr sz="14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Bild-Text | zweite Ebene  ggf. mit TAB! Ebene</a:t>
            </a:r>
          </a:p>
        </p:txBody>
      </p:sp>
      <p:sp>
        <p:nvSpPr>
          <p:cNvPr id="37" name="Punkt3">
            <a:extLst>
              <a:ext uri="{FF2B5EF4-FFF2-40B4-BE49-F238E27FC236}">
                <a16:creationId xmlns:a16="http://schemas.microsoft.com/office/drawing/2014/main" id="{D203E83F-BC40-2C2C-4378-80BB9C858348}"/>
              </a:ext>
            </a:extLst>
          </p:cNvPr>
          <p:cNvSpPr/>
          <p:nvPr userDrawn="1"/>
        </p:nvSpPr>
        <p:spPr>
          <a:xfrm rot="5400000">
            <a:off x="4244570" y="3483110"/>
            <a:ext cx="180000" cy="180000"/>
          </a:xfrm>
          <a:prstGeom prst="ellipse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Sprechblase2">
            <a:extLst>
              <a:ext uri="{FF2B5EF4-FFF2-40B4-BE49-F238E27FC236}">
                <a16:creationId xmlns:a16="http://schemas.microsoft.com/office/drawing/2014/main" id="{E34DB4C6-334E-DB17-59C3-095A82B1EDDE}"/>
              </a:ext>
            </a:extLst>
          </p:cNvPr>
          <p:cNvSpPr>
            <a:spLocks noChangeAspect="1"/>
          </p:cNvSpPr>
          <p:nvPr userDrawn="1"/>
        </p:nvSpPr>
        <p:spPr>
          <a:xfrm>
            <a:off x="1838784" y="4340446"/>
            <a:ext cx="1440000" cy="1153261"/>
          </a:xfrm>
          <a:prstGeom prst="wedgeRoundRectCallout">
            <a:avLst>
              <a:gd name="adj1" fmla="val 31356"/>
              <a:gd name="adj2" fmla="val -97340"/>
              <a:gd name="adj3" fmla="val 16667"/>
            </a:avLst>
          </a:prstGeom>
          <a:noFill/>
          <a:ln w="69850" cap="sq">
            <a:solidFill>
              <a:srgbClr val="8C3E9F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9600" b="1" dirty="0">
                <a:solidFill>
                  <a:srgbClr val="8C3E9F"/>
                </a:solidFill>
                <a:latin typeface="Source Sans Pro" panose="020B0503030403020204" pitchFamily="34" charset="0"/>
              </a:rPr>
              <a:t>2</a:t>
            </a:r>
          </a:p>
        </p:txBody>
      </p:sp>
      <p:sp>
        <p:nvSpPr>
          <p:cNvPr id="5" name="Punkt2">
            <a:extLst>
              <a:ext uri="{FF2B5EF4-FFF2-40B4-BE49-F238E27FC236}">
                <a16:creationId xmlns:a16="http://schemas.microsoft.com/office/drawing/2014/main" id="{C4854558-8CA8-C487-4249-F4A972A6CDE3}"/>
              </a:ext>
            </a:extLst>
          </p:cNvPr>
          <p:cNvSpPr/>
          <p:nvPr userDrawn="1"/>
        </p:nvSpPr>
        <p:spPr>
          <a:xfrm rot="5400000">
            <a:off x="2941285" y="3483110"/>
            <a:ext cx="180000" cy="180000"/>
          </a:xfrm>
          <a:prstGeom prst="ellipse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" name="Gerader Verbinder1">
            <a:extLst>
              <a:ext uri="{FF2B5EF4-FFF2-40B4-BE49-F238E27FC236}">
                <a16:creationId xmlns:a16="http://schemas.microsoft.com/office/drawing/2014/main" id="{9697AD43-731C-B785-7717-D728BC81BCBA}"/>
              </a:ext>
            </a:extLst>
          </p:cNvPr>
          <p:cNvCxnSpPr>
            <a:cxnSpLocks/>
            <a:stCxn id="9" idx="1"/>
            <a:endCxn id="14" idx="2"/>
          </p:cNvCxnSpPr>
          <p:nvPr userDrawn="1"/>
        </p:nvCxnSpPr>
        <p:spPr>
          <a:xfrm>
            <a:off x="1728000" y="3255128"/>
            <a:ext cx="0" cy="227982"/>
          </a:xfrm>
          <a:prstGeom prst="line">
            <a:avLst/>
          </a:prstGeom>
          <a:ln>
            <a:solidFill>
              <a:srgbClr val="10069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-Platzhalter1">
            <a:extLst>
              <a:ext uri="{FF2B5EF4-FFF2-40B4-BE49-F238E27FC236}">
                <a16:creationId xmlns:a16="http://schemas.microsoft.com/office/drawing/2014/main" id="{56552F69-1F49-FFF0-FE46-8BE226838CB5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540000" y="1383128"/>
            <a:ext cx="2376000" cy="1872000"/>
          </a:xfrm>
          <a:prstGeom prst="snip2DiagRect">
            <a:avLst>
              <a:gd name="adj1" fmla="val 16325"/>
              <a:gd name="adj2" fmla="val 0"/>
            </a:avLst>
          </a:prstGeom>
          <a:solidFill>
            <a:srgbClr val="10069F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25000"/>
              <a:buFontTx/>
              <a:buNone/>
              <a:defRPr sz="2000" b="1" i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Clr>
                <a:schemeClr val="tx2"/>
              </a:buClr>
              <a:buSzPct val="25000"/>
              <a:buFontTx/>
              <a:buNone/>
              <a:defRPr sz="18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 dirty="0"/>
              <a:t>Punkt-Text | zweite Ebene ggf. mit TAB!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4" name="Punkt1">
            <a:extLst>
              <a:ext uri="{FF2B5EF4-FFF2-40B4-BE49-F238E27FC236}">
                <a16:creationId xmlns:a16="http://schemas.microsoft.com/office/drawing/2014/main" id="{67A70F55-E0A1-5A51-BC68-2E93F5C33D00}"/>
              </a:ext>
            </a:extLst>
          </p:cNvPr>
          <p:cNvSpPr/>
          <p:nvPr userDrawn="1"/>
        </p:nvSpPr>
        <p:spPr>
          <a:xfrm rot="5400000">
            <a:off x="1638000" y="3483110"/>
            <a:ext cx="180000" cy="180000"/>
          </a:xfrm>
          <a:prstGeom prst="ellipse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FCA5C25-60BB-F3F6-0379-671CFEEDEA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39663"/>
            <a:ext cx="11160000" cy="900000"/>
          </a:xfrm>
        </p:spPr>
        <p:txBody>
          <a:bodyPr/>
          <a:lstStyle/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05207304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-Folien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">
            <a:extLst>
              <a:ext uri="{FF2B5EF4-FFF2-40B4-BE49-F238E27FC236}">
                <a16:creationId xmlns:a16="http://schemas.microsoft.com/office/drawing/2014/main" id="{97731A11-C713-C88D-BB91-277E0545AB4F}"/>
              </a:ext>
            </a:extLst>
          </p:cNvPr>
          <p:cNvSpPr txBox="1"/>
          <p:nvPr userDrawn="1"/>
        </p:nvSpPr>
        <p:spPr>
          <a:xfrm>
            <a:off x="0" y="1930524"/>
            <a:ext cx="12192000" cy="2996952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r>
              <a:rPr lang="de-DE" sz="16600" cap="all" baseline="0" dirty="0">
                <a:solidFill>
                  <a:srgbClr val="FF3EB5"/>
                </a:solidFill>
                <a:latin typeface="Montserrat Black" pitchFamily="2" charset="0"/>
              </a:rPr>
              <a:t>ENDE</a:t>
            </a:r>
          </a:p>
        </p:txBody>
      </p:sp>
    </p:spTree>
    <p:extLst>
      <p:ext uri="{BB962C8B-B14F-4D97-AF65-F5344CB8AC3E}">
        <p14:creationId xmlns:p14="http://schemas.microsoft.com/office/powerpoint/2010/main" val="1130511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| Orange-Pink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prechblaseA">
            <a:extLst>
              <a:ext uri="{FF2B5EF4-FFF2-40B4-BE49-F238E27FC236}">
                <a16:creationId xmlns:a16="http://schemas.microsoft.com/office/drawing/2014/main" id="{301FA1AE-E398-B611-BC9C-E041190F2BF7}"/>
              </a:ext>
            </a:extLst>
          </p:cNvPr>
          <p:cNvSpPr/>
          <p:nvPr userDrawn="1"/>
        </p:nvSpPr>
        <p:spPr>
          <a:xfrm>
            <a:off x="4086511" y="735564"/>
            <a:ext cx="4500000" cy="2952000"/>
          </a:xfrm>
          <a:prstGeom prst="wedgeRoundRectCallout">
            <a:avLst>
              <a:gd name="adj1" fmla="val -32990"/>
              <a:gd name="adj2" fmla="val 90273"/>
              <a:gd name="adj3" fmla="val 16667"/>
            </a:avLst>
          </a:prstGeom>
          <a:noFill/>
          <a:ln w="177800" cap="sq">
            <a:solidFill>
              <a:srgbClr val="FF3EB5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0" bIns="0" rtlCol="0" anchor="ctr"/>
          <a:lstStyle/>
          <a:p>
            <a:pPr algn="r"/>
            <a:r>
              <a:rPr lang="de-DE" sz="17000" dirty="0">
                <a:solidFill>
                  <a:srgbClr val="FF3EB5"/>
                </a:solidFill>
                <a:latin typeface="Montserrat Black" pitchFamily="2" charset="0"/>
              </a:rPr>
              <a:t>A</a:t>
            </a:r>
          </a:p>
        </p:txBody>
      </p:sp>
      <p:sp>
        <p:nvSpPr>
          <p:cNvPr id="28" name="Textfeld_Und">
            <a:extLst>
              <a:ext uri="{FF2B5EF4-FFF2-40B4-BE49-F238E27FC236}">
                <a16:creationId xmlns:a16="http://schemas.microsoft.com/office/drawing/2014/main" id="{C418D434-C90E-F0CD-7727-B00257471253}"/>
              </a:ext>
            </a:extLst>
          </p:cNvPr>
          <p:cNvSpPr txBox="1"/>
          <p:nvPr userDrawn="1"/>
        </p:nvSpPr>
        <p:spPr>
          <a:xfrm>
            <a:off x="4229586" y="1650066"/>
            <a:ext cx="997068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0" dirty="0">
                <a:solidFill>
                  <a:schemeClr val="bg1"/>
                </a:solidFill>
                <a:latin typeface="Montserrat Black" panose="00000A00000000000000" pitchFamily="50" charset="0"/>
              </a:rPr>
              <a:t>&amp;</a:t>
            </a:r>
          </a:p>
        </p:txBody>
      </p:sp>
      <p:sp>
        <p:nvSpPr>
          <p:cNvPr id="5" name="SprechblaseQ">
            <a:extLst>
              <a:ext uri="{FF2B5EF4-FFF2-40B4-BE49-F238E27FC236}">
                <a16:creationId xmlns:a16="http://schemas.microsoft.com/office/drawing/2014/main" id="{2A949F70-FAE0-5275-3FD3-C82B4B014CB7}"/>
              </a:ext>
            </a:extLst>
          </p:cNvPr>
          <p:cNvSpPr/>
          <p:nvPr userDrawn="1"/>
        </p:nvSpPr>
        <p:spPr>
          <a:xfrm>
            <a:off x="855843" y="1146010"/>
            <a:ext cx="4500000" cy="2952000"/>
          </a:xfrm>
          <a:prstGeom prst="wedgeRoundRectCallout">
            <a:avLst>
              <a:gd name="adj1" fmla="val 33862"/>
              <a:gd name="adj2" fmla="val 86054"/>
              <a:gd name="adj3" fmla="val 16667"/>
            </a:avLst>
          </a:prstGeom>
          <a:noFill/>
          <a:ln w="177800" cap="sq">
            <a:solidFill>
              <a:srgbClr val="FF4414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0" tIns="0" rIns="0" bIns="0" rtlCol="0" anchor="ctr"/>
          <a:lstStyle/>
          <a:p>
            <a:pPr algn="l"/>
            <a:r>
              <a:rPr lang="de-DE" sz="17000" dirty="0">
                <a:solidFill>
                  <a:srgbClr val="FF4414"/>
                </a:solidFill>
                <a:latin typeface="Montserrat Black" pitchFamily="2" charset="0"/>
              </a:rPr>
              <a:t>Q</a:t>
            </a:r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112938"/>
            <a:ext cx="1800000" cy="1371844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7848" y="5409320"/>
            <a:ext cx="6643579" cy="900000"/>
          </a:xfrm>
        </p:spPr>
        <p:txBody>
          <a:bodyPr/>
          <a:lstStyle>
            <a:lvl1pPr algn="l">
              <a:defRPr sz="4800" spc="10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0531568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| Orange-Pink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prechblaseA">
            <a:extLst>
              <a:ext uri="{FF2B5EF4-FFF2-40B4-BE49-F238E27FC236}">
                <a16:creationId xmlns:a16="http://schemas.microsoft.com/office/drawing/2014/main" id="{301FA1AE-E398-B611-BC9C-E041190F2BF7}"/>
              </a:ext>
            </a:extLst>
          </p:cNvPr>
          <p:cNvSpPr/>
          <p:nvPr userDrawn="1"/>
        </p:nvSpPr>
        <p:spPr>
          <a:xfrm>
            <a:off x="4086511" y="735564"/>
            <a:ext cx="4500000" cy="2952000"/>
          </a:xfrm>
          <a:prstGeom prst="wedgeRoundRectCallout">
            <a:avLst>
              <a:gd name="adj1" fmla="val -32990"/>
              <a:gd name="adj2" fmla="val 90273"/>
              <a:gd name="adj3" fmla="val 16667"/>
            </a:avLst>
          </a:prstGeom>
          <a:noFill/>
          <a:ln w="177800" cap="sq">
            <a:solidFill>
              <a:srgbClr val="FF3EB5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0" bIns="0" rtlCol="0" anchor="ctr"/>
          <a:lstStyle/>
          <a:p>
            <a:pPr algn="r"/>
            <a:r>
              <a:rPr lang="de-DE" sz="17000" dirty="0">
                <a:solidFill>
                  <a:srgbClr val="FF3EB5"/>
                </a:solidFill>
                <a:latin typeface="Montserrat Black" pitchFamily="2" charset="0"/>
              </a:rPr>
              <a:t>A</a:t>
            </a:r>
          </a:p>
        </p:txBody>
      </p:sp>
      <p:sp>
        <p:nvSpPr>
          <p:cNvPr id="28" name="Textfeld_Und">
            <a:extLst>
              <a:ext uri="{FF2B5EF4-FFF2-40B4-BE49-F238E27FC236}">
                <a16:creationId xmlns:a16="http://schemas.microsoft.com/office/drawing/2014/main" id="{C418D434-C90E-F0CD-7727-B00257471253}"/>
              </a:ext>
            </a:extLst>
          </p:cNvPr>
          <p:cNvSpPr txBox="1"/>
          <p:nvPr userDrawn="1"/>
        </p:nvSpPr>
        <p:spPr>
          <a:xfrm>
            <a:off x="4229586" y="1650066"/>
            <a:ext cx="997068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0" dirty="0">
                <a:solidFill>
                  <a:schemeClr val="bg1"/>
                </a:solidFill>
                <a:latin typeface="Montserrat Black" panose="00000A00000000000000" pitchFamily="50" charset="0"/>
              </a:rPr>
              <a:t>&amp;</a:t>
            </a:r>
          </a:p>
        </p:txBody>
      </p:sp>
      <p:sp>
        <p:nvSpPr>
          <p:cNvPr id="5" name="SprechblaseQ">
            <a:extLst>
              <a:ext uri="{FF2B5EF4-FFF2-40B4-BE49-F238E27FC236}">
                <a16:creationId xmlns:a16="http://schemas.microsoft.com/office/drawing/2014/main" id="{2A949F70-FAE0-5275-3FD3-C82B4B014CB7}"/>
              </a:ext>
            </a:extLst>
          </p:cNvPr>
          <p:cNvSpPr/>
          <p:nvPr userDrawn="1"/>
        </p:nvSpPr>
        <p:spPr>
          <a:xfrm>
            <a:off x="855843" y="1146010"/>
            <a:ext cx="4500000" cy="2952000"/>
          </a:xfrm>
          <a:prstGeom prst="wedgeRoundRectCallout">
            <a:avLst>
              <a:gd name="adj1" fmla="val 33862"/>
              <a:gd name="adj2" fmla="val 86054"/>
              <a:gd name="adj3" fmla="val 16667"/>
            </a:avLst>
          </a:prstGeom>
          <a:noFill/>
          <a:ln w="177800" cap="sq">
            <a:solidFill>
              <a:srgbClr val="FF4414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0" tIns="0" rIns="0" bIns="0" rtlCol="0" anchor="ctr"/>
          <a:lstStyle/>
          <a:p>
            <a:pPr algn="l"/>
            <a:r>
              <a:rPr lang="de-DE" sz="17000" dirty="0">
                <a:solidFill>
                  <a:srgbClr val="FF4414"/>
                </a:solidFill>
                <a:latin typeface="Montserrat Black" pitchFamily="2" charset="0"/>
              </a:rPr>
              <a:t>Q</a:t>
            </a:r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112938"/>
            <a:ext cx="1800000" cy="1371844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7848" y="5409320"/>
            <a:ext cx="6643579" cy="900000"/>
          </a:xfrm>
        </p:spPr>
        <p:txBody>
          <a:bodyPr/>
          <a:lstStyle>
            <a:lvl1pPr algn="l">
              <a:defRPr sz="4800" spc="10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870524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| Türkis-Pink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prechblaseA">
            <a:extLst>
              <a:ext uri="{FF2B5EF4-FFF2-40B4-BE49-F238E27FC236}">
                <a16:creationId xmlns:a16="http://schemas.microsoft.com/office/drawing/2014/main" id="{301FA1AE-E398-B611-BC9C-E041190F2BF7}"/>
              </a:ext>
            </a:extLst>
          </p:cNvPr>
          <p:cNvSpPr/>
          <p:nvPr userDrawn="1"/>
        </p:nvSpPr>
        <p:spPr>
          <a:xfrm>
            <a:off x="4086511" y="735564"/>
            <a:ext cx="4500000" cy="2952000"/>
          </a:xfrm>
          <a:prstGeom prst="wedgeRoundRectCallout">
            <a:avLst>
              <a:gd name="adj1" fmla="val -32990"/>
              <a:gd name="adj2" fmla="val 90273"/>
              <a:gd name="adj3" fmla="val 16667"/>
            </a:avLst>
          </a:prstGeom>
          <a:noFill/>
          <a:ln w="177800" cap="sq">
            <a:solidFill>
              <a:srgbClr val="FF3EB5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0" bIns="0" rtlCol="0" anchor="ctr"/>
          <a:lstStyle/>
          <a:p>
            <a:pPr algn="r"/>
            <a:r>
              <a:rPr lang="de-DE" sz="17000" dirty="0">
                <a:solidFill>
                  <a:srgbClr val="FF3EB5"/>
                </a:solidFill>
                <a:latin typeface="Montserrat Black" pitchFamily="2" charset="0"/>
              </a:rPr>
              <a:t>A</a:t>
            </a:r>
          </a:p>
        </p:txBody>
      </p:sp>
      <p:sp>
        <p:nvSpPr>
          <p:cNvPr id="28" name="Textfeld_Und">
            <a:extLst>
              <a:ext uri="{FF2B5EF4-FFF2-40B4-BE49-F238E27FC236}">
                <a16:creationId xmlns:a16="http://schemas.microsoft.com/office/drawing/2014/main" id="{C418D434-C90E-F0CD-7727-B00257471253}"/>
              </a:ext>
            </a:extLst>
          </p:cNvPr>
          <p:cNvSpPr txBox="1"/>
          <p:nvPr userDrawn="1"/>
        </p:nvSpPr>
        <p:spPr>
          <a:xfrm>
            <a:off x="4229586" y="1650066"/>
            <a:ext cx="997068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0" dirty="0">
                <a:solidFill>
                  <a:schemeClr val="bg1"/>
                </a:solidFill>
                <a:latin typeface="Montserrat Black" panose="00000A00000000000000" pitchFamily="50" charset="0"/>
              </a:rPr>
              <a:t>&amp;</a:t>
            </a:r>
          </a:p>
        </p:txBody>
      </p:sp>
      <p:sp>
        <p:nvSpPr>
          <p:cNvPr id="5" name="SprechblaseQ">
            <a:extLst>
              <a:ext uri="{FF2B5EF4-FFF2-40B4-BE49-F238E27FC236}">
                <a16:creationId xmlns:a16="http://schemas.microsoft.com/office/drawing/2014/main" id="{2A949F70-FAE0-5275-3FD3-C82B4B014CB7}"/>
              </a:ext>
            </a:extLst>
          </p:cNvPr>
          <p:cNvSpPr/>
          <p:nvPr userDrawn="1"/>
        </p:nvSpPr>
        <p:spPr>
          <a:xfrm>
            <a:off x="855843" y="1146010"/>
            <a:ext cx="4500000" cy="2952000"/>
          </a:xfrm>
          <a:prstGeom prst="wedgeRoundRectCallout">
            <a:avLst>
              <a:gd name="adj1" fmla="val 33862"/>
              <a:gd name="adj2" fmla="val 86054"/>
              <a:gd name="adj3" fmla="val 16667"/>
            </a:avLst>
          </a:prstGeom>
          <a:noFill/>
          <a:ln w="177800" cap="sq">
            <a:solidFill>
              <a:srgbClr val="10ADAA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0" tIns="0" rIns="0" bIns="0" rtlCol="0" anchor="ctr"/>
          <a:lstStyle/>
          <a:p>
            <a:pPr algn="l"/>
            <a:r>
              <a:rPr lang="de-DE" sz="17000" dirty="0">
                <a:solidFill>
                  <a:srgbClr val="10ADAA"/>
                </a:solidFill>
                <a:latin typeface="Montserrat Black" pitchFamily="2" charset="0"/>
              </a:rPr>
              <a:t>Q</a:t>
            </a:r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112937"/>
            <a:ext cx="1800000" cy="1371847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7848" y="5409320"/>
            <a:ext cx="6643579" cy="900000"/>
          </a:xfrm>
        </p:spPr>
        <p:txBody>
          <a:bodyPr/>
          <a:lstStyle>
            <a:lvl1pPr algn="l">
              <a:defRPr sz="4800" spc="10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5353551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| Türkis-Pink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prechblaseA">
            <a:extLst>
              <a:ext uri="{FF2B5EF4-FFF2-40B4-BE49-F238E27FC236}">
                <a16:creationId xmlns:a16="http://schemas.microsoft.com/office/drawing/2014/main" id="{301FA1AE-E398-B611-BC9C-E041190F2BF7}"/>
              </a:ext>
            </a:extLst>
          </p:cNvPr>
          <p:cNvSpPr/>
          <p:nvPr userDrawn="1"/>
        </p:nvSpPr>
        <p:spPr>
          <a:xfrm>
            <a:off x="4086511" y="735564"/>
            <a:ext cx="4500000" cy="2952000"/>
          </a:xfrm>
          <a:prstGeom prst="wedgeRoundRectCallout">
            <a:avLst>
              <a:gd name="adj1" fmla="val -32990"/>
              <a:gd name="adj2" fmla="val 90273"/>
              <a:gd name="adj3" fmla="val 16667"/>
            </a:avLst>
          </a:prstGeom>
          <a:noFill/>
          <a:ln w="177800" cap="sq">
            <a:solidFill>
              <a:srgbClr val="FF3EB5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0" bIns="0" rtlCol="0" anchor="ctr"/>
          <a:lstStyle/>
          <a:p>
            <a:pPr algn="r"/>
            <a:r>
              <a:rPr lang="de-DE" sz="17000" dirty="0">
                <a:solidFill>
                  <a:srgbClr val="FF3EB5"/>
                </a:solidFill>
                <a:latin typeface="Montserrat Black" pitchFamily="2" charset="0"/>
              </a:rPr>
              <a:t>A</a:t>
            </a:r>
          </a:p>
        </p:txBody>
      </p:sp>
      <p:sp>
        <p:nvSpPr>
          <p:cNvPr id="28" name="Textfeld_Und">
            <a:extLst>
              <a:ext uri="{FF2B5EF4-FFF2-40B4-BE49-F238E27FC236}">
                <a16:creationId xmlns:a16="http://schemas.microsoft.com/office/drawing/2014/main" id="{C418D434-C90E-F0CD-7727-B00257471253}"/>
              </a:ext>
            </a:extLst>
          </p:cNvPr>
          <p:cNvSpPr txBox="1"/>
          <p:nvPr userDrawn="1"/>
        </p:nvSpPr>
        <p:spPr>
          <a:xfrm>
            <a:off x="4229586" y="1650066"/>
            <a:ext cx="997068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0" dirty="0">
                <a:solidFill>
                  <a:schemeClr val="bg1"/>
                </a:solidFill>
                <a:latin typeface="Montserrat Black" panose="00000A00000000000000" pitchFamily="50" charset="0"/>
              </a:rPr>
              <a:t>&amp;</a:t>
            </a:r>
          </a:p>
        </p:txBody>
      </p:sp>
      <p:sp>
        <p:nvSpPr>
          <p:cNvPr id="5" name="SprechblaseQ">
            <a:extLst>
              <a:ext uri="{FF2B5EF4-FFF2-40B4-BE49-F238E27FC236}">
                <a16:creationId xmlns:a16="http://schemas.microsoft.com/office/drawing/2014/main" id="{2A949F70-FAE0-5275-3FD3-C82B4B014CB7}"/>
              </a:ext>
            </a:extLst>
          </p:cNvPr>
          <p:cNvSpPr/>
          <p:nvPr userDrawn="1"/>
        </p:nvSpPr>
        <p:spPr>
          <a:xfrm>
            <a:off x="855843" y="1146010"/>
            <a:ext cx="4500000" cy="2952000"/>
          </a:xfrm>
          <a:prstGeom prst="wedgeRoundRectCallout">
            <a:avLst>
              <a:gd name="adj1" fmla="val 33862"/>
              <a:gd name="adj2" fmla="val 86054"/>
              <a:gd name="adj3" fmla="val 16667"/>
            </a:avLst>
          </a:prstGeom>
          <a:noFill/>
          <a:ln w="177800" cap="sq">
            <a:solidFill>
              <a:srgbClr val="10ADAA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0" tIns="0" rIns="0" bIns="0" rtlCol="0" anchor="ctr"/>
          <a:lstStyle/>
          <a:p>
            <a:pPr algn="l"/>
            <a:r>
              <a:rPr lang="de-DE" sz="17000" dirty="0">
                <a:solidFill>
                  <a:srgbClr val="10ADAA"/>
                </a:solidFill>
                <a:latin typeface="Montserrat Black" pitchFamily="2" charset="0"/>
              </a:rPr>
              <a:t>Q</a:t>
            </a:r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112937"/>
            <a:ext cx="1800000" cy="1371847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7848" y="5409320"/>
            <a:ext cx="6643579" cy="900000"/>
          </a:xfrm>
        </p:spPr>
        <p:txBody>
          <a:bodyPr/>
          <a:lstStyle>
            <a:lvl1pPr algn="l">
              <a:defRPr sz="4800" spc="10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052461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| Türkis-Orange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prechblaseA">
            <a:extLst>
              <a:ext uri="{FF2B5EF4-FFF2-40B4-BE49-F238E27FC236}">
                <a16:creationId xmlns:a16="http://schemas.microsoft.com/office/drawing/2014/main" id="{301FA1AE-E398-B611-BC9C-E041190F2BF7}"/>
              </a:ext>
            </a:extLst>
          </p:cNvPr>
          <p:cNvSpPr/>
          <p:nvPr userDrawn="1"/>
        </p:nvSpPr>
        <p:spPr>
          <a:xfrm>
            <a:off x="4086511" y="735564"/>
            <a:ext cx="4500000" cy="2952000"/>
          </a:xfrm>
          <a:prstGeom prst="wedgeRoundRectCallout">
            <a:avLst>
              <a:gd name="adj1" fmla="val -32990"/>
              <a:gd name="adj2" fmla="val 90273"/>
              <a:gd name="adj3" fmla="val 16667"/>
            </a:avLst>
          </a:prstGeom>
          <a:noFill/>
          <a:ln w="177800" cap="sq">
            <a:solidFill>
              <a:srgbClr val="FF4414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0" bIns="0" rtlCol="0" anchor="ctr"/>
          <a:lstStyle/>
          <a:p>
            <a:pPr algn="r"/>
            <a:r>
              <a:rPr lang="de-DE" sz="17000" dirty="0">
                <a:solidFill>
                  <a:srgbClr val="FF4414"/>
                </a:solidFill>
                <a:latin typeface="Montserrat Black" pitchFamily="2" charset="0"/>
              </a:rPr>
              <a:t>A</a:t>
            </a:r>
          </a:p>
        </p:txBody>
      </p:sp>
      <p:sp>
        <p:nvSpPr>
          <p:cNvPr id="28" name="Textfeld_Und">
            <a:extLst>
              <a:ext uri="{FF2B5EF4-FFF2-40B4-BE49-F238E27FC236}">
                <a16:creationId xmlns:a16="http://schemas.microsoft.com/office/drawing/2014/main" id="{C418D434-C90E-F0CD-7727-B00257471253}"/>
              </a:ext>
            </a:extLst>
          </p:cNvPr>
          <p:cNvSpPr txBox="1"/>
          <p:nvPr userDrawn="1"/>
        </p:nvSpPr>
        <p:spPr>
          <a:xfrm>
            <a:off x="4229586" y="1650066"/>
            <a:ext cx="997068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0" dirty="0">
                <a:solidFill>
                  <a:schemeClr val="bg1"/>
                </a:solidFill>
                <a:latin typeface="Montserrat Black" panose="00000A00000000000000" pitchFamily="50" charset="0"/>
              </a:rPr>
              <a:t>&amp;</a:t>
            </a:r>
          </a:p>
        </p:txBody>
      </p:sp>
      <p:sp>
        <p:nvSpPr>
          <p:cNvPr id="5" name="SprechblaseQ">
            <a:extLst>
              <a:ext uri="{FF2B5EF4-FFF2-40B4-BE49-F238E27FC236}">
                <a16:creationId xmlns:a16="http://schemas.microsoft.com/office/drawing/2014/main" id="{2A949F70-FAE0-5275-3FD3-C82B4B014CB7}"/>
              </a:ext>
            </a:extLst>
          </p:cNvPr>
          <p:cNvSpPr/>
          <p:nvPr userDrawn="1"/>
        </p:nvSpPr>
        <p:spPr>
          <a:xfrm>
            <a:off x="855843" y="1146010"/>
            <a:ext cx="4500000" cy="2952000"/>
          </a:xfrm>
          <a:prstGeom prst="wedgeRoundRectCallout">
            <a:avLst>
              <a:gd name="adj1" fmla="val 33862"/>
              <a:gd name="adj2" fmla="val 86054"/>
              <a:gd name="adj3" fmla="val 16667"/>
            </a:avLst>
          </a:prstGeom>
          <a:noFill/>
          <a:ln w="177800" cap="sq">
            <a:solidFill>
              <a:srgbClr val="10ADAA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0" tIns="0" rIns="0" bIns="0" rtlCol="0" anchor="ctr"/>
          <a:lstStyle/>
          <a:p>
            <a:pPr algn="l"/>
            <a:r>
              <a:rPr lang="de-DE" sz="17000" dirty="0">
                <a:solidFill>
                  <a:srgbClr val="10ADAA"/>
                </a:solidFill>
                <a:latin typeface="Montserrat Black" pitchFamily="2" charset="0"/>
              </a:rPr>
              <a:t>Q</a:t>
            </a:r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112937"/>
            <a:ext cx="1800000" cy="1371847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7848" y="5409320"/>
            <a:ext cx="6643579" cy="900000"/>
          </a:xfrm>
        </p:spPr>
        <p:txBody>
          <a:bodyPr/>
          <a:lstStyle>
            <a:lvl1pPr algn="l">
              <a:defRPr sz="4800" spc="10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035477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Orange/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327" y="5781691"/>
            <a:ext cx="2735345" cy="1076180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FF441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CBD5C565-D34F-4909-B3FE-FC24E827395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234640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| Türkis-Orange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prechblaseA">
            <a:extLst>
              <a:ext uri="{FF2B5EF4-FFF2-40B4-BE49-F238E27FC236}">
                <a16:creationId xmlns:a16="http://schemas.microsoft.com/office/drawing/2014/main" id="{301FA1AE-E398-B611-BC9C-E041190F2BF7}"/>
              </a:ext>
            </a:extLst>
          </p:cNvPr>
          <p:cNvSpPr/>
          <p:nvPr userDrawn="1"/>
        </p:nvSpPr>
        <p:spPr>
          <a:xfrm>
            <a:off x="4086511" y="735564"/>
            <a:ext cx="4500000" cy="2952000"/>
          </a:xfrm>
          <a:prstGeom prst="wedgeRoundRectCallout">
            <a:avLst>
              <a:gd name="adj1" fmla="val -32990"/>
              <a:gd name="adj2" fmla="val 90273"/>
              <a:gd name="adj3" fmla="val 16667"/>
            </a:avLst>
          </a:prstGeom>
          <a:noFill/>
          <a:ln w="177800" cap="sq">
            <a:solidFill>
              <a:srgbClr val="FF4414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0" bIns="0" rtlCol="0" anchor="ctr"/>
          <a:lstStyle/>
          <a:p>
            <a:pPr algn="r"/>
            <a:r>
              <a:rPr lang="de-DE" sz="17000" dirty="0">
                <a:solidFill>
                  <a:srgbClr val="FF4414"/>
                </a:solidFill>
                <a:latin typeface="Montserrat Black" pitchFamily="2" charset="0"/>
              </a:rPr>
              <a:t>A</a:t>
            </a:r>
          </a:p>
        </p:txBody>
      </p:sp>
      <p:sp>
        <p:nvSpPr>
          <p:cNvPr id="28" name="Textfeld_Und">
            <a:extLst>
              <a:ext uri="{FF2B5EF4-FFF2-40B4-BE49-F238E27FC236}">
                <a16:creationId xmlns:a16="http://schemas.microsoft.com/office/drawing/2014/main" id="{C418D434-C90E-F0CD-7727-B00257471253}"/>
              </a:ext>
            </a:extLst>
          </p:cNvPr>
          <p:cNvSpPr txBox="1"/>
          <p:nvPr userDrawn="1"/>
        </p:nvSpPr>
        <p:spPr>
          <a:xfrm>
            <a:off x="4229586" y="1650066"/>
            <a:ext cx="997068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0" dirty="0">
                <a:solidFill>
                  <a:schemeClr val="bg1"/>
                </a:solidFill>
                <a:latin typeface="Montserrat Black" panose="00000A00000000000000" pitchFamily="50" charset="0"/>
              </a:rPr>
              <a:t>&amp;</a:t>
            </a:r>
          </a:p>
        </p:txBody>
      </p:sp>
      <p:sp>
        <p:nvSpPr>
          <p:cNvPr id="5" name="SprechblaseQ">
            <a:extLst>
              <a:ext uri="{FF2B5EF4-FFF2-40B4-BE49-F238E27FC236}">
                <a16:creationId xmlns:a16="http://schemas.microsoft.com/office/drawing/2014/main" id="{2A949F70-FAE0-5275-3FD3-C82B4B014CB7}"/>
              </a:ext>
            </a:extLst>
          </p:cNvPr>
          <p:cNvSpPr/>
          <p:nvPr userDrawn="1"/>
        </p:nvSpPr>
        <p:spPr>
          <a:xfrm>
            <a:off x="855843" y="1146010"/>
            <a:ext cx="4500000" cy="2952000"/>
          </a:xfrm>
          <a:prstGeom prst="wedgeRoundRectCallout">
            <a:avLst>
              <a:gd name="adj1" fmla="val 33862"/>
              <a:gd name="adj2" fmla="val 86054"/>
              <a:gd name="adj3" fmla="val 16667"/>
            </a:avLst>
          </a:prstGeom>
          <a:noFill/>
          <a:ln w="177800" cap="sq">
            <a:solidFill>
              <a:srgbClr val="10ADAA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0" tIns="0" rIns="0" bIns="0" rtlCol="0" anchor="ctr"/>
          <a:lstStyle/>
          <a:p>
            <a:pPr algn="l"/>
            <a:r>
              <a:rPr lang="de-DE" sz="17000" dirty="0">
                <a:solidFill>
                  <a:srgbClr val="10ADAA"/>
                </a:solidFill>
                <a:latin typeface="Montserrat Black" pitchFamily="2" charset="0"/>
              </a:rPr>
              <a:t>Q</a:t>
            </a:r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112937"/>
            <a:ext cx="1800000" cy="1371847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7848" y="5409320"/>
            <a:ext cx="6643579" cy="900000"/>
          </a:xfrm>
        </p:spPr>
        <p:txBody>
          <a:bodyPr/>
          <a:lstStyle>
            <a:lvl1pPr algn="l">
              <a:defRPr sz="4800" spc="10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1733146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| Türkis-Grün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prechblaseA">
            <a:extLst>
              <a:ext uri="{FF2B5EF4-FFF2-40B4-BE49-F238E27FC236}">
                <a16:creationId xmlns:a16="http://schemas.microsoft.com/office/drawing/2014/main" id="{301FA1AE-E398-B611-BC9C-E041190F2BF7}"/>
              </a:ext>
            </a:extLst>
          </p:cNvPr>
          <p:cNvSpPr/>
          <p:nvPr userDrawn="1"/>
        </p:nvSpPr>
        <p:spPr>
          <a:xfrm>
            <a:off x="4086511" y="735564"/>
            <a:ext cx="4500000" cy="2952000"/>
          </a:xfrm>
          <a:prstGeom prst="wedgeRoundRectCallout">
            <a:avLst>
              <a:gd name="adj1" fmla="val -32990"/>
              <a:gd name="adj2" fmla="val 90273"/>
              <a:gd name="adj3" fmla="val 16667"/>
            </a:avLst>
          </a:prstGeom>
          <a:noFill/>
          <a:ln w="177800" cap="sq">
            <a:solidFill>
              <a:srgbClr val="10AD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0" bIns="0" rtlCol="0" anchor="ctr"/>
          <a:lstStyle/>
          <a:p>
            <a:pPr algn="r"/>
            <a:r>
              <a:rPr lang="de-DE" sz="17000" dirty="0">
                <a:solidFill>
                  <a:srgbClr val="10AD00"/>
                </a:solidFill>
                <a:latin typeface="Montserrat Black" pitchFamily="2" charset="0"/>
              </a:rPr>
              <a:t>A</a:t>
            </a:r>
          </a:p>
        </p:txBody>
      </p:sp>
      <p:sp>
        <p:nvSpPr>
          <p:cNvPr id="28" name="Textfeld_Und">
            <a:extLst>
              <a:ext uri="{FF2B5EF4-FFF2-40B4-BE49-F238E27FC236}">
                <a16:creationId xmlns:a16="http://schemas.microsoft.com/office/drawing/2014/main" id="{C418D434-C90E-F0CD-7727-B00257471253}"/>
              </a:ext>
            </a:extLst>
          </p:cNvPr>
          <p:cNvSpPr txBox="1"/>
          <p:nvPr userDrawn="1"/>
        </p:nvSpPr>
        <p:spPr>
          <a:xfrm>
            <a:off x="4229586" y="1650066"/>
            <a:ext cx="997068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0" dirty="0">
                <a:solidFill>
                  <a:schemeClr val="bg1"/>
                </a:solidFill>
                <a:latin typeface="Montserrat Black" panose="00000A00000000000000" pitchFamily="50" charset="0"/>
              </a:rPr>
              <a:t>&amp;</a:t>
            </a:r>
          </a:p>
        </p:txBody>
      </p:sp>
      <p:sp>
        <p:nvSpPr>
          <p:cNvPr id="5" name="SprechblaseQ">
            <a:extLst>
              <a:ext uri="{FF2B5EF4-FFF2-40B4-BE49-F238E27FC236}">
                <a16:creationId xmlns:a16="http://schemas.microsoft.com/office/drawing/2014/main" id="{2A949F70-FAE0-5275-3FD3-C82B4B014CB7}"/>
              </a:ext>
            </a:extLst>
          </p:cNvPr>
          <p:cNvSpPr/>
          <p:nvPr userDrawn="1"/>
        </p:nvSpPr>
        <p:spPr>
          <a:xfrm>
            <a:off x="855843" y="1146010"/>
            <a:ext cx="4500000" cy="2952000"/>
          </a:xfrm>
          <a:prstGeom prst="wedgeRoundRectCallout">
            <a:avLst>
              <a:gd name="adj1" fmla="val 33862"/>
              <a:gd name="adj2" fmla="val 86054"/>
              <a:gd name="adj3" fmla="val 16667"/>
            </a:avLst>
          </a:prstGeom>
          <a:noFill/>
          <a:ln w="177800" cap="sq">
            <a:solidFill>
              <a:srgbClr val="10ADAA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0" tIns="0" rIns="0" bIns="0" rtlCol="0" anchor="ctr"/>
          <a:lstStyle/>
          <a:p>
            <a:pPr algn="l"/>
            <a:r>
              <a:rPr lang="de-DE" sz="17000" dirty="0">
                <a:solidFill>
                  <a:srgbClr val="10ADAA"/>
                </a:solidFill>
                <a:latin typeface="Montserrat Black" pitchFamily="2" charset="0"/>
              </a:rPr>
              <a:t>Q</a:t>
            </a:r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112937"/>
            <a:ext cx="1800000" cy="1371847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7848" y="5409320"/>
            <a:ext cx="6643579" cy="900000"/>
          </a:xfrm>
        </p:spPr>
        <p:txBody>
          <a:bodyPr/>
          <a:lstStyle>
            <a:lvl1pPr algn="l">
              <a:defRPr sz="4800" spc="10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0076680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| Türkis-Grün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prechblaseA">
            <a:extLst>
              <a:ext uri="{FF2B5EF4-FFF2-40B4-BE49-F238E27FC236}">
                <a16:creationId xmlns:a16="http://schemas.microsoft.com/office/drawing/2014/main" id="{301FA1AE-E398-B611-BC9C-E041190F2BF7}"/>
              </a:ext>
            </a:extLst>
          </p:cNvPr>
          <p:cNvSpPr/>
          <p:nvPr userDrawn="1"/>
        </p:nvSpPr>
        <p:spPr>
          <a:xfrm>
            <a:off x="4086511" y="735564"/>
            <a:ext cx="4500000" cy="2952000"/>
          </a:xfrm>
          <a:prstGeom prst="wedgeRoundRectCallout">
            <a:avLst>
              <a:gd name="adj1" fmla="val -32990"/>
              <a:gd name="adj2" fmla="val 90273"/>
              <a:gd name="adj3" fmla="val 16667"/>
            </a:avLst>
          </a:prstGeom>
          <a:noFill/>
          <a:ln w="177800" cap="sq">
            <a:solidFill>
              <a:srgbClr val="10AD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0" bIns="0" rtlCol="0" anchor="ctr"/>
          <a:lstStyle/>
          <a:p>
            <a:pPr algn="r"/>
            <a:r>
              <a:rPr lang="de-DE" sz="17000" dirty="0">
                <a:solidFill>
                  <a:srgbClr val="10AD00"/>
                </a:solidFill>
                <a:latin typeface="Montserrat Black" pitchFamily="2" charset="0"/>
              </a:rPr>
              <a:t>A</a:t>
            </a:r>
          </a:p>
        </p:txBody>
      </p:sp>
      <p:sp>
        <p:nvSpPr>
          <p:cNvPr id="28" name="Textfeld_Und">
            <a:extLst>
              <a:ext uri="{FF2B5EF4-FFF2-40B4-BE49-F238E27FC236}">
                <a16:creationId xmlns:a16="http://schemas.microsoft.com/office/drawing/2014/main" id="{C418D434-C90E-F0CD-7727-B00257471253}"/>
              </a:ext>
            </a:extLst>
          </p:cNvPr>
          <p:cNvSpPr txBox="1"/>
          <p:nvPr userDrawn="1"/>
        </p:nvSpPr>
        <p:spPr>
          <a:xfrm>
            <a:off x="4229586" y="1650066"/>
            <a:ext cx="997068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0" dirty="0">
                <a:solidFill>
                  <a:schemeClr val="bg1"/>
                </a:solidFill>
                <a:latin typeface="Montserrat Black" panose="00000A00000000000000" pitchFamily="50" charset="0"/>
              </a:rPr>
              <a:t>&amp;</a:t>
            </a:r>
          </a:p>
        </p:txBody>
      </p:sp>
      <p:sp>
        <p:nvSpPr>
          <p:cNvPr id="5" name="SprechblaseQ">
            <a:extLst>
              <a:ext uri="{FF2B5EF4-FFF2-40B4-BE49-F238E27FC236}">
                <a16:creationId xmlns:a16="http://schemas.microsoft.com/office/drawing/2014/main" id="{2A949F70-FAE0-5275-3FD3-C82B4B014CB7}"/>
              </a:ext>
            </a:extLst>
          </p:cNvPr>
          <p:cNvSpPr/>
          <p:nvPr userDrawn="1"/>
        </p:nvSpPr>
        <p:spPr>
          <a:xfrm>
            <a:off x="855843" y="1146010"/>
            <a:ext cx="4500000" cy="2952000"/>
          </a:xfrm>
          <a:prstGeom prst="wedgeRoundRectCallout">
            <a:avLst>
              <a:gd name="adj1" fmla="val 33862"/>
              <a:gd name="adj2" fmla="val 86054"/>
              <a:gd name="adj3" fmla="val 16667"/>
            </a:avLst>
          </a:prstGeom>
          <a:noFill/>
          <a:ln w="177800" cap="sq">
            <a:solidFill>
              <a:srgbClr val="10ADAA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0" tIns="0" rIns="0" bIns="0" rtlCol="0" anchor="ctr"/>
          <a:lstStyle/>
          <a:p>
            <a:pPr algn="l"/>
            <a:r>
              <a:rPr lang="de-DE" sz="17000" dirty="0">
                <a:solidFill>
                  <a:srgbClr val="10ADAA"/>
                </a:solidFill>
                <a:latin typeface="Montserrat Black" pitchFamily="2" charset="0"/>
              </a:rPr>
              <a:t>Q</a:t>
            </a:r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112937"/>
            <a:ext cx="1800000" cy="1371847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7848" y="5409320"/>
            <a:ext cx="6643579" cy="900000"/>
          </a:xfrm>
        </p:spPr>
        <p:txBody>
          <a:bodyPr/>
          <a:lstStyle>
            <a:lvl1pPr algn="l">
              <a:defRPr sz="4800" spc="10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862533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| Violett-Grün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prechblaseA">
            <a:extLst>
              <a:ext uri="{FF2B5EF4-FFF2-40B4-BE49-F238E27FC236}">
                <a16:creationId xmlns:a16="http://schemas.microsoft.com/office/drawing/2014/main" id="{301FA1AE-E398-B611-BC9C-E041190F2BF7}"/>
              </a:ext>
            </a:extLst>
          </p:cNvPr>
          <p:cNvSpPr/>
          <p:nvPr userDrawn="1"/>
        </p:nvSpPr>
        <p:spPr>
          <a:xfrm>
            <a:off x="4086511" y="735564"/>
            <a:ext cx="4500000" cy="2952000"/>
          </a:xfrm>
          <a:prstGeom prst="wedgeRoundRectCallout">
            <a:avLst>
              <a:gd name="adj1" fmla="val -32990"/>
              <a:gd name="adj2" fmla="val 90273"/>
              <a:gd name="adj3" fmla="val 16667"/>
            </a:avLst>
          </a:prstGeom>
          <a:noFill/>
          <a:ln w="177800" cap="sq">
            <a:solidFill>
              <a:srgbClr val="10AD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0" bIns="0" rtlCol="0" anchor="ctr"/>
          <a:lstStyle/>
          <a:p>
            <a:pPr algn="r"/>
            <a:r>
              <a:rPr lang="de-DE" sz="17000" dirty="0">
                <a:solidFill>
                  <a:srgbClr val="10AD00"/>
                </a:solidFill>
                <a:latin typeface="Montserrat Black" pitchFamily="2" charset="0"/>
              </a:rPr>
              <a:t>A</a:t>
            </a:r>
          </a:p>
        </p:txBody>
      </p:sp>
      <p:sp>
        <p:nvSpPr>
          <p:cNvPr id="28" name="Textfeld_Und">
            <a:extLst>
              <a:ext uri="{FF2B5EF4-FFF2-40B4-BE49-F238E27FC236}">
                <a16:creationId xmlns:a16="http://schemas.microsoft.com/office/drawing/2014/main" id="{C418D434-C90E-F0CD-7727-B00257471253}"/>
              </a:ext>
            </a:extLst>
          </p:cNvPr>
          <p:cNvSpPr txBox="1"/>
          <p:nvPr userDrawn="1"/>
        </p:nvSpPr>
        <p:spPr>
          <a:xfrm>
            <a:off x="4229586" y="1650066"/>
            <a:ext cx="997068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0" dirty="0">
                <a:solidFill>
                  <a:schemeClr val="bg1"/>
                </a:solidFill>
                <a:latin typeface="Montserrat Black" panose="00000A00000000000000" pitchFamily="50" charset="0"/>
              </a:rPr>
              <a:t>&amp;</a:t>
            </a:r>
          </a:p>
        </p:txBody>
      </p:sp>
      <p:sp>
        <p:nvSpPr>
          <p:cNvPr id="5" name="SprechblaseQ">
            <a:extLst>
              <a:ext uri="{FF2B5EF4-FFF2-40B4-BE49-F238E27FC236}">
                <a16:creationId xmlns:a16="http://schemas.microsoft.com/office/drawing/2014/main" id="{2A949F70-FAE0-5275-3FD3-C82B4B014CB7}"/>
              </a:ext>
            </a:extLst>
          </p:cNvPr>
          <p:cNvSpPr/>
          <p:nvPr userDrawn="1"/>
        </p:nvSpPr>
        <p:spPr>
          <a:xfrm>
            <a:off x="855843" y="1146010"/>
            <a:ext cx="4500000" cy="2952000"/>
          </a:xfrm>
          <a:prstGeom prst="wedgeRoundRectCallout">
            <a:avLst>
              <a:gd name="adj1" fmla="val 33862"/>
              <a:gd name="adj2" fmla="val 86054"/>
              <a:gd name="adj3" fmla="val 16667"/>
            </a:avLst>
          </a:prstGeom>
          <a:noFill/>
          <a:ln w="177800" cap="sq">
            <a:solidFill>
              <a:srgbClr val="8C3E9F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0" tIns="0" rIns="0" bIns="0" rtlCol="0" anchor="ctr"/>
          <a:lstStyle/>
          <a:p>
            <a:pPr algn="l"/>
            <a:r>
              <a:rPr lang="de-DE" sz="17000" dirty="0">
                <a:solidFill>
                  <a:srgbClr val="8C3E9F"/>
                </a:solidFill>
                <a:latin typeface="Montserrat Black" pitchFamily="2" charset="0"/>
              </a:rPr>
              <a:t>Q</a:t>
            </a:r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112938"/>
            <a:ext cx="1800000" cy="1371844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7848" y="5409320"/>
            <a:ext cx="6643579" cy="900000"/>
          </a:xfrm>
        </p:spPr>
        <p:txBody>
          <a:bodyPr/>
          <a:lstStyle>
            <a:lvl1pPr algn="l">
              <a:defRPr sz="4800" spc="10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143921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| Violett-Grün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prechblaseA">
            <a:extLst>
              <a:ext uri="{FF2B5EF4-FFF2-40B4-BE49-F238E27FC236}">
                <a16:creationId xmlns:a16="http://schemas.microsoft.com/office/drawing/2014/main" id="{301FA1AE-E398-B611-BC9C-E041190F2BF7}"/>
              </a:ext>
            </a:extLst>
          </p:cNvPr>
          <p:cNvSpPr/>
          <p:nvPr userDrawn="1"/>
        </p:nvSpPr>
        <p:spPr>
          <a:xfrm>
            <a:off x="4086511" y="735564"/>
            <a:ext cx="4500000" cy="2952000"/>
          </a:xfrm>
          <a:prstGeom prst="wedgeRoundRectCallout">
            <a:avLst>
              <a:gd name="adj1" fmla="val -32990"/>
              <a:gd name="adj2" fmla="val 90273"/>
              <a:gd name="adj3" fmla="val 16667"/>
            </a:avLst>
          </a:prstGeom>
          <a:noFill/>
          <a:ln w="177800" cap="sq">
            <a:solidFill>
              <a:srgbClr val="10AD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0" bIns="0" rtlCol="0" anchor="ctr"/>
          <a:lstStyle/>
          <a:p>
            <a:pPr algn="r"/>
            <a:r>
              <a:rPr lang="de-DE" sz="17000" dirty="0">
                <a:solidFill>
                  <a:srgbClr val="10AD00"/>
                </a:solidFill>
                <a:latin typeface="Montserrat Black" pitchFamily="2" charset="0"/>
              </a:rPr>
              <a:t>A</a:t>
            </a:r>
          </a:p>
        </p:txBody>
      </p:sp>
      <p:sp>
        <p:nvSpPr>
          <p:cNvPr id="28" name="Textfeld_Und">
            <a:extLst>
              <a:ext uri="{FF2B5EF4-FFF2-40B4-BE49-F238E27FC236}">
                <a16:creationId xmlns:a16="http://schemas.microsoft.com/office/drawing/2014/main" id="{C418D434-C90E-F0CD-7727-B00257471253}"/>
              </a:ext>
            </a:extLst>
          </p:cNvPr>
          <p:cNvSpPr txBox="1"/>
          <p:nvPr userDrawn="1"/>
        </p:nvSpPr>
        <p:spPr>
          <a:xfrm>
            <a:off x="4229586" y="1650066"/>
            <a:ext cx="997068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0" dirty="0">
                <a:solidFill>
                  <a:schemeClr val="bg1"/>
                </a:solidFill>
                <a:latin typeface="Montserrat Black" panose="00000A00000000000000" pitchFamily="50" charset="0"/>
              </a:rPr>
              <a:t>&amp;</a:t>
            </a:r>
          </a:p>
        </p:txBody>
      </p:sp>
      <p:sp>
        <p:nvSpPr>
          <p:cNvPr id="5" name="SprechblaseQ">
            <a:extLst>
              <a:ext uri="{FF2B5EF4-FFF2-40B4-BE49-F238E27FC236}">
                <a16:creationId xmlns:a16="http://schemas.microsoft.com/office/drawing/2014/main" id="{2A949F70-FAE0-5275-3FD3-C82B4B014CB7}"/>
              </a:ext>
            </a:extLst>
          </p:cNvPr>
          <p:cNvSpPr/>
          <p:nvPr userDrawn="1"/>
        </p:nvSpPr>
        <p:spPr>
          <a:xfrm>
            <a:off x="855843" y="1146010"/>
            <a:ext cx="4500000" cy="2952000"/>
          </a:xfrm>
          <a:prstGeom prst="wedgeRoundRectCallout">
            <a:avLst>
              <a:gd name="adj1" fmla="val 33862"/>
              <a:gd name="adj2" fmla="val 86054"/>
              <a:gd name="adj3" fmla="val 16667"/>
            </a:avLst>
          </a:prstGeom>
          <a:noFill/>
          <a:ln w="177800" cap="sq">
            <a:solidFill>
              <a:srgbClr val="8C3E9F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0" tIns="0" rIns="0" bIns="0" rtlCol="0" anchor="ctr"/>
          <a:lstStyle/>
          <a:p>
            <a:pPr algn="l"/>
            <a:r>
              <a:rPr lang="de-DE" sz="17000" dirty="0">
                <a:solidFill>
                  <a:srgbClr val="8C3E9F"/>
                </a:solidFill>
                <a:latin typeface="Montserrat Black" pitchFamily="2" charset="0"/>
              </a:rPr>
              <a:t>Q</a:t>
            </a:r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112938"/>
            <a:ext cx="1800000" cy="1371844"/>
          </a:xfrm>
          <a:prstGeom prst="rect">
            <a:avLst/>
          </a:pr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D89D0931-B44C-059F-E360-40D52D495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7848" y="5409320"/>
            <a:ext cx="6643579" cy="900000"/>
          </a:xfrm>
        </p:spPr>
        <p:txBody>
          <a:bodyPr/>
          <a:lstStyle>
            <a:lvl1pPr algn="l">
              <a:defRPr sz="4800" spc="10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4219096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IED | Pink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6CF24D7-8630-9B95-4F6A-3B8370F3916D}"/>
              </a:ext>
            </a:extLst>
          </p:cNvPr>
          <p:cNvGrpSpPr/>
          <p:nvPr userDrawn="1"/>
        </p:nvGrpSpPr>
        <p:grpSpPr>
          <a:xfrm>
            <a:off x="868708" y="555625"/>
            <a:ext cx="3260017" cy="5188869"/>
            <a:chOff x="868708" y="555625"/>
            <a:chExt cx="3260017" cy="5188869"/>
          </a:xfrm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0528F933-E585-BB6F-598A-F0984D920F62}"/>
                </a:ext>
              </a:extLst>
            </p:cNvPr>
            <p:cNvSpPr/>
            <p:nvPr userDrawn="1"/>
          </p:nvSpPr>
          <p:spPr>
            <a:xfrm>
              <a:off x="873868" y="555625"/>
              <a:ext cx="612000" cy="2987126"/>
            </a:xfrm>
            <a:custGeom>
              <a:avLst/>
              <a:gdLst>
                <a:gd name="connsiteX0" fmla="*/ 612000 w 612000"/>
                <a:gd name="connsiteY0" fmla="*/ 0 h 2987126"/>
                <a:gd name="connsiteX1" fmla="*/ 612000 w 612000"/>
                <a:gd name="connsiteY1" fmla="*/ 2548798 h 2987126"/>
                <a:gd name="connsiteX2" fmla="*/ 640 w 612000"/>
                <a:gd name="connsiteY2" fmla="*/ 2987126 h 2987126"/>
                <a:gd name="connsiteX3" fmla="*/ 0 w 612000"/>
                <a:gd name="connsiteY3" fmla="*/ 2986677 h 2987126"/>
                <a:gd name="connsiteX4" fmla="*/ 0 w 612000"/>
                <a:gd name="connsiteY4" fmla="*/ 539021 h 298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2987126">
                  <a:moveTo>
                    <a:pt x="612000" y="0"/>
                  </a:moveTo>
                  <a:lnTo>
                    <a:pt x="612000" y="2548798"/>
                  </a:lnTo>
                  <a:lnTo>
                    <a:pt x="640" y="2987126"/>
                  </a:lnTo>
                  <a:lnTo>
                    <a:pt x="0" y="2986677"/>
                  </a:lnTo>
                  <a:lnTo>
                    <a:pt x="0" y="539021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4FA59276-1670-CEB3-C16C-993BFBF301A5}"/>
                </a:ext>
              </a:extLst>
            </p:cNvPr>
            <p:cNvSpPr txBox="1"/>
            <p:nvPr userDrawn="1"/>
          </p:nvSpPr>
          <p:spPr>
            <a:xfrm>
              <a:off x="1482725" y="555626"/>
              <a:ext cx="2646000" cy="2549339"/>
            </a:xfrm>
            <a:custGeom>
              <a:avLst/>
              <a:gdLst>
                <a:gd name="connsiteX0" fmla="*/ 0 w 2646000"/>
                <a:gd name="connsiteY0" fmla="*/ 0 h 2549339"/>
                <a:gd name="connsiteX1" fmla="*/ 2646000 w 2646000"/>
                <a:gd name="connsiteY1" fmla="*/ 0 h 2549339"/>
                <a:gd name="connsiteX2" fmla="*/ 2646000 w 2646000"/>
                <a:gd name="connsiteY2" fmla="*/ 2175380 h 2549339"/>
                <a:gd name="connsiteX3" fmla="*/ 1966075 w 2646000"/>
                <a:gd name="connsiteY3" fmla="*/ 2549339 h 2549339"/>
                <a:gd name="connsiteX4" fmla="*/ 0 w 2646000"/>
                <a:gd name="connsiteY4" fmla="*/ 2549339 h 254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6000" h="2549339">
                  <a:moveTo>
                    <a:pt x="0" y="0"/>
                  </a:moveTo>
                  <a:lnTo>
                    <a:pt x="2646000" y="0"/>
                  </a:lnTo>
                  <a:lnTo>
                    <a:pt x="2646000" y="2175380"/>
                  </a:lnTo>
                  <a:lnTo>
                    <a:pt x="1966075" y="2549339"/>
                  </a:lnTo>
                  <a:lnTo>
                    <a:pt x="0" y="2549339"/>
                  </a:lnTo>
                  <a:close/>
                </a:path>
              </a:pathLst>
            </a:custGeom>
            <a:solidFill>
              <a:srgbClr val="FF3EB5"/>
            </a:solidFill>
          </p:spPr>
          <p:txBody>
            <a:bodyPr wrap="square" lIns="252000" tIns="252000" rtlCol="0">
              <a:noAutofit/>
            </a:bodyPr>
            <a:lstStyle/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ERST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MIT 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UNS</a:t>
              </a:r>
            </a:p>
            <a:p>
              <a:pPr>
                <a:lnSpc>
                  <a:spcPct val="70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STIMMT DIE CHEMIE</a:t>
              </a:r>
            </a:p>
            <a:p>
              <a:pPr>
                <a:lnSpc>
                  <a:spcPct val="75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AM STANDORT</a:t>
              </a:r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676D8394-D749-F15C-3082-AD6C937964B7}"/>
                </a:ext>
              </a:extLst>
            </p:cNvPr>
            <p:cNvSpPr/>
            <p:nvPr userDrawn="1"/>
          </p:nvSpPr>
          <p:spPr>
            <a:xfrm rot="10800000">
              <a:off x="868708" y="3104965"/>
              <a:ext cx="3068811" cy="2639529"/>
            </a:xfrm>
            <a:custGeom>
              <a:avLst/>
              <a:gdLst>
                <a:gd name="connsiteX0" fmla="*/ 18153 w 3068811"/>
                <a:gd name="connsiteY0" fmla="*/ 3586 h 2639529"/>
                <a:gd name="connsiteX1" fmla="*/ 13384 w 3068811"/>
                <a:gd name="connsiteY1" fmla="*/ 1398 h 2639529"/>
                <a:gd name="connsiteX2" fmla="*/ 13133 w 3068811"/>
                <a:gd name="connsiteY2" fmla="*/ 0 h 2639529"/>
                <a:gd name="connsiteX3" fmla="*/ 11907 w 3068811"/>
                <a:gd name="connsiteY3" fmla="*/ 2639529 h 2639529"/>
                <a:gd name="connsiteX4" fmla="*/ 0 w 3068811"/>
                <a:gd name="connsiteY4" fmla="*/ 2639529 h 2639529"/>
                <a:gd name="connsiteX5" fmla="*/ 0 w 3068811"/>
                <a:gd name="connsiteY5" fmla="*/ 2637474 h 2639529"/>
                <a:gd name="connsiteX6" fmla="*/ 2453574 w 3068811"/>
                <a:gd name="connsiteY6" fmla="*/ 2639529 h 2639529"/>
                <a:gd name="connsiteX7" fmla="*/ 487535 w 3068811"/>
                <a:gd name="connsiteY7" fmla="*/ 2639529 h 2639529"/>
                <a:gd name="connsiteX8" fmla="*/ 21129 w 3068811"/>
                <a:gd name="connsiteY8" fmla="*/ 44489 h 2639529"/>
                <a:gd name="connsiteX9" fmla="*/ 3068811 w 3068811"/>
                <a:gd name="connsiteY9" fmla="*/ 2198423 h 263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68811" h="2639529">
                  <a:moveTo>
                    <a:pt x="18153" y="3586"/>
                  </a:moveTo>
                  <a:lnTo>
                    <a:pt x="13384" y="1398"/>
                  </a:lnTo>
                  <a:lnTo>
                    <a:pt x="13133" y="0"/>
                  </a:lnTo>
                  <a:close/>
                  <a:moveTo>
                    <a:pt x="11907" y="2639529"/>
                  </a:moveTo>
                  <a:lnTo>
                    <a:pt x="0" y="2639529"/>
                  </a:lnTo>
                  <a:lnTo>
                    <a:pt x="0" y="2637474"/>
                  </a:lnTo>
                  <a:close/>
                  <a:moveTo>
                    <a:pt x="2453574" y="2639529"/>
                  </a:moveTo>
                  <a:lnTo>
                    <a:pt x="487535" y="2639529"/>
                  </a:lnTo>
                  <a:lnTo>
                    <a:pt x="21129" y="44489"/>
                  </a:lnTo>
                  <a:lnTo>
                    <a:pt x="3068811" y="2198423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5373217"/>
            <a:ext cx="1800000" cy="1371844"/>
          </a:xfrm>
          <a:prstGeom prst="rect">
            <a:avLst/>
          </a:prstGeom>
        </p:spPr>
      </p:pic>
      <p:sp>
        <p:nvSpPr>
          <p:cNvPr id="38" name="Titel">
            <a:extLst>
              <a:ext uri="{FF2B5EF4-FFF2-40B4-BE49-F238E27FC236}">
                <a16:creationId xmlns:a16="http://schemas.microsoft.com/office/drawing/2014/main" id="{D04DF204-D32D-AB2A-F250-3B915846C9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800" y="2593479"/>
            <a:ext cx="7272808" cy="288310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Danke- / </a:t>
            </a:r>
            <a:br>
              <a:rPr lang="de-DE" dirty="0"/>
            </a:br>
            <a:r>
              <a:rPr lang="de-DE" dirty="0"/>
              <a:t>Abschied-Text</a:t>
            </a:r>
          </a:p>
        </p:txBody>
      </p:sp>
    </p:spTree>
    <p:extLst>
      <p:ext uri="{BB962C8B-B14F-4D97-AF65-F5344CB8AC3E}">
        <p14:creationId xmlns:p14="http://schemas.microsoft.com/office/powerpoint/2010/main" val="1597492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 userDrawn="1">
          <p15:clr>
            <a:srgbClr val="FBAE40"/>
          </p15:clr>
        </p15:guide>
        <p15:guide id="2" pos="393" userDrawn="1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IED | Pink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6CF24D7-8630-9B95-4F6A-3B8370F3916D}"/>
              </a:ext>
            </a:extLst>
          </p:cNvPr>
          <p:cNvGrpSpPr/>
          <p:nvPr userDrawn="1"/>
        </p:nvGrpSpPr>
        <p:grpSpPr>
          <a:xfrm>
            <a:off x="868708" y="555625"/>
            <a:ext cx="3260017" cy="5188869"/>
            <a:chOff x="868708" y="555625"/>
            <a:chExt cx="3260017" cy="5188869"/>
          </a:xfrm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0528F933-E585-BB6F-598A-F0984D920F62}"/>
                </a:ext>
              </a:extLst>
            </p:cNvPr>
            <p:cNvSpPr/>
            <p:nvPr userDrawn="1"/>
          </p:nvSpPr>
          <p:spPr>
            <a:xfrm>
              <a:off x="873868" y="555625"/>
              <a:ext cx="612000" cy="2987126"/>
            </a:xfrm>
            <a:custGeom>
              <a:avLst/>
              <a:gdLst>
                <a:gd name="connsiteX0" fmla="*/ 612000 w 612000"/>
                <a:gd name="connsiteY0" fmla="*/ 0 h 2987126"/>
                <a:gd name="connsiteX1" fmla="*/ 612000 w 612000"/>
                <a:gd name="connsiteY1" fmla="*/ 2548798 h 2987126"/>
                <a:gd name="connsiteX2" fmla="*/ 640 w 612000"/>
                <a:gd name="connsiteY2" fmla="*/ 2987126 h 2987126"/>
                <a:gd name="connsiteX3" fmla="*/ 0 w 612000"/>
                <a:gd name="connsiteY3" fmla="*/ 2986677 h 2987126"/>
                <a:gd name="connsiteX4" fmla="*/ 0 w 612000"/>
                <a:gd name="connsiteY4" fmla="*/ 539021 h 298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2987126">
                  <a:moveTo>
                    <a:pt x="612000" y="0"/>
                  </a:moveTo>
                  <a:lnTo>
                    <a:pt x="612000" y="2548798"/>
                  </a:lnTo>
                  <a:lnTo>
                    <a:pt x="640" y="2987126"/>
                  </a:lnTo>
                  <a:lnTo>
                    <a:pt x="0" y="2986677"/>
                  </a:lnTo>
                  <a:lnTo>
                    <a:pt x="0" y="539021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4FA59276-1670-CEB3-C16C-993BFBF301A5}"/>
                </a:ext>
              </a:extLst>
            </p:cNvPr>
            <p:cNvSpPr txBox="1"/>
            <p:nvPr userDrawn="1"/>
          </p:nvSpPr>
          <p:spPr>
            <a:xfrm>
              <a:off x="1482725" y="555626"/>
              <a:ext cx="2646000" cy="2549339"/>
            </a:xfrm>
            <a:custGeom>
              <a:avLst/>
              <a:gdLst>
                <a:gd name="connsiteX0" fmla="*/ 0 w 2646000"/>
                <a:gd name="connsiteY0" fmla="*/ 0 h 2549339"/>
                <a:gd name="connsiteX1" fmla="*/ 2646000 w 2646000"/>
                <a:gd name="connsiteY1" fmla="*/ 0 h 2549339"/>
                <a:gd name="connsiteX2" fmla="*/ 2646000 w 2646000"/>
                <a:gd name="connsiteY2" fmla="*/ 2175380 h 2549339"/>
                <a:gd name="connsiteX3" fmla="*/ 1966075 w 2646000"/>
                <a:gd name="connsiteY3" fmla="*/ 2549339 h 2549339"/>
                <a:gd name="connsiteX4" fmla="*/ 0 w 2646000"/>
                <a:gd name="connsiteY4" fmla="*/ 2549339 h 254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6000" h="2549339">
                  <a:moveTo>
                    <a:pt x="0" y="0"/>
                  </a:moveTo>
                  <a:lnTo>
                    <a:pt x="2646000" y="0"/>
                  </a:lnTo>
                  <a:lnTo>
                    <a:pt x="2646000" y="2175380"/>
                  </a:lnTo>
                  <a:lnTo>
                    <a:pt x="1966075" y="2549339"/>
                  </a:lnTo>
                  <a:lnTo>
                    <a:pt x="0" y="2549339"/>
                  </a:lnTo>
                  <a:close/>
                </a:path>
              </a:pathLst>
            </a:custGeom>
            <a:solidFill>
              <a:srgbClr val="FF3EB5"/>
            </a:solidFill>
          </p:spPr>
          <p:txBody>
            <a:bodyPr wrap="square" lIns="252000" tIns="252000" rtlCol="0">
              <a:noAutofit/>
            </a:bodyPr>
            <a:lstStyle/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ERST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MIT 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UNS</a:t>
              </a:r>
            </a:p>
            <a:p>
              <a:pPr>
                <a:lnSpc>
                  <a:spcPct val="70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STIMMT DIE CHEMIE</a:t>
              </a:r>
            </a:p>
            <a:p>
              <a:pPr>
                <a:lnSpc>
                  <a:spcPct val="75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AM STANDORT</a:t>
              </a:r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676D8394-D749-F15C-3082-AD6C937964B7}"/>
                </a:ext>
              </a:extLst>
            </p:cNvPr>
            <p:cNvSpPr/>
            <p:nvPr userDrawn="1"/>
          </p:nvSpPr>
          <p:spPr>
            <a:xfrm rot="10800000">
              <a:off x="868708" y="3104965"/>
              <a:ext cx="3068811" cy="2639529"/>
            </a:xfrm>
            <a:custGeom>
              <a:avLst/>
              <a:gdLst>
                <a:gd name="connsiteX0" fmla="*/ 18153 w 3068811"/>
                <a:gd name="connsiteY0" fmla="*/ 3586 h 2639529"/>
                <a:gd name="connsiteX1" fmla="*/ 13384 w 3068811"/>
                <a:gd name="connsiteY1" fmla="*/ 1398 h 2639529"/>
                <a:gd name="connsiteX2" fmla="*/ 13133 w 3068811"/>
                <a:gd name="connsiteY2" fmla="*/ 0 h 2639529"/>
                <a:gd name="connsiteX3" fmla="*/ 11907 w 3068811"/>
                <a:gd name="connsiteY3" fmla="*/ 2639529 h 2639529"/>
                <a:gd name="connsiteX4" fmla="*/ 0 w 3068811"/>
                <a:gd name="connsiteY4" fmla="*/ 2639529 h 2639529"/>
                <a:gd name="connsiteX5" fmla="*/ 0 w 3068811"/>
                <a:gd name="connsiteY5" fmla="*/ 2637474 h 2639529"/>
                <a:gd name="connsiteX6" fmla="*/ 2453574 w 3068811"/>
                <a:gd name="connsiteY6" fmla="*/ 2639529 h 2639529"/>
                <a:gd name="connsiteX7" fmla="*/ 487535 w 3068811"/>
                <a:gd name="connsiteY7" fmla="*/ 2639529 h 2639529"/>
                <a:gd name="connsiteX8" fmla="*/ 21129 w 3068811"/>
                <a:gd name="connsiteY8" fmla="*/ 44489 h 2639529"/>
                <a:gd name="connsiteX9" fmla="*/ 3068811 w 3068811"/>
                <a:gd name="connsiteY9" fmla="*/ 2198423 h 263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68811" h="2639529">
                  <a:moveTo>
                    <a:pt x="18153" y="3586"/>
                  </a:moveTo>
                  <a:lnTo>
                    <a:pt x="13384" y="1398"/>
                  </a:lnTo>
                  <a:lnTo>
                    <a:pt x="13133" y="0"/>
                  </a:lnTo>
                  <a:close/>
                  <a:moveTo>
                    <a:pt x="11907" y="2639529"/>
                  </a:moveTo>
                  <a:lnTo>
                    <a:pt x="0" y="2639529"/>
                  </a:lnTo>
                  <a:lnTo>
                    <a:pt x="0" y="2637474"/>
                  </a:lnTo>
                  <a:close/>
                  <a:moveTo>
                    <a:pt x="2453574" y="2639529"/>
                  </a:moveTo>
                  <a:lnTo>
                    <a:pt x="487535" y="2639529"/>
                  </a:lnTo>
                  <a:lnTo>
                    <a:pt x="21129" y="44489"/>
                  </a:lnTo>
                  <a:lnTo>
                    <a:pt x="3068811" y="2198423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5373217"/>
            <a:ext cx="1800000" cy="1371844"/>
          </a:xfrm>
          <a:prstGeom prst="rect">
            <a:avLst/>
          </a:prstGeom>
        </p:spPr>
      </p:pic>
      <p:sp>
        <p:nvSpPr>
          <p:cNvPr id="38" name="Titel">
            <a:extLst>
              <a:ext uri="{FF2B5EF4-FFF2-40B4-BE49-F238E27FC236}">
                <a16:creationId xmlns:a16="http://schemas.microsoft.com/office/drawing/2014/main" id="{D04DF204-D32D-AB2A-F250-3B915846C9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800" y="2593479"/>
            <a:ext cx="7272808" cy="288310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Danke- / </a:t>
            </a:r>
            <a:br>
              <a:rPr lang="de-DE" dirty="0"/>
            </a:br>
            <a:r>
              <a:rPr lang="de-DE" dirty="0"/>
              <a:t>Abschied-Text</a:t>
            </a:r>
          </a:p>
        </p:txBody>
      </p:sp>
    </p:spTree>
    <p:extLst>
      <p:ext uri="{BB962C8B-B14F-4D97-AF65-F5344CB8AC3E}">
        <p14:creationId xmlns:p14="http://schemas.microsoft.com/office/powerpoint/2010/main" val="2255623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>
          <p15:clr>
            <a:srgbClr val="FBAE40"/>
          </p15:clr>
        </p15:guide>
        <p15:guide id="2" pos="393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IED | Türkis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FCD507F-A73F-C11B-91C5-76C79541A7CE}"/>
              </a:ext>
            </a:extLst>
          </p:cNvPr>
          <p:cNvGrpSpPr/>
          <p:nvPr userDrawn="1"/>
        </p:nvGrpSpPr>
        <p:grpSpPr>
          <a:xfrm>
            <a:off x="868708" y="555625"/>
            <a:ext cx="3260017" cy="5188869"/>
            <a:chOff x="868708" y="555625"/>
            <a:chExt cx="3260017" cy="5188869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348D40-7903-0FA1-FF0D-88EF1728ADA2}"/>
                </a:ext>
              </a:extLst>
            </p:cNvPr>
            <p:cNvSpPr/>
            <p:nvPr userDrawn="1"/>
          </p:nvSpPr>
          <p:spPr>
            <a:xfrm>
              <a:off x="873868" y="555625"/>
              <a:ext cx="612000" cy="2987126"/>
            </a:xfrm>
            <a:custGeom>
              <a:avLst/>
              <a:gdLst>
                <a:gd name="connsiteX0" fmla="*/ 612000 w 612000"/>
                <a:gd name="connsiteY0" fmla="*/ 0 h 2987126"/>
                <a:gd name="connsiteX1" fmla="*/ 612000 w 612000"/>
                <a:gd name="connsiteY1" fmla="*/ 2548798 h 2987126"/>
                <a:gd name="connsiteX2" fmla="*/ 640 w 612000"/>
                <a:gd name="connsiteY2" fmla="*/ 2987126 h 2987126"/>
                <a:gd name="connsiteX3" fmla="*/ 0 w 612000"/>
                <a:gd name="connsiteY3" fmla="*/ 2986677 h 2987126"/>
                <a:gd name="connsiteX4" fmla="*/ 0 w 612000"/>
                <a:gd name="connsiteY4" fmla="*/ 539021 h 298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2987126">
                  <a:moveTo>
                    <a:pt x="612000" y="0"/>
                  </a:moveTo>
                  <a:lnTo>
                    <a:pt x="612000" y="2548798"/>
                  </a:lnTo>
                  <a:lnTo>
                    <a:pt x="640" y="2987126"/>
                  </a:lnTo>
                  <a:lnTo>
                    <a:pt x="0" y="2986677"/>
                  </a:lnTo>
                  <a:lnTo>
                    <a:pt x="0" y="539021"/>
                  </a:lnTo>
                  <a:close/>
                </a:path>
              </a:pathLst>
            </a:custGeom>
            <a:solidFill>
              <a:srgbClr val="FF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D038A837-3CC8-5B8C-A6F3-06392B83AAC9}"/>
                </a:ext>
              </a:extLst>
            </p:cNvPr>
            <p:cNvSpPr txBox="1"/>
            <p:nvPr userDrawn="1"/>
          </p:nvSpPr>
          <p:spPr>
            <a:xfrm>
              <a:off x="1482725" y="555626"/>
              <a:ext cx="2646000" cy="2549339"/>
            </a:xfrm>
            <a:custGeom>
              <a:avLst/>
              <a:gdLst>
                <a:gd name="connsiteX0" fmla="*/ 0 w 2646000"/>
                <a:gd name="connsiteY0" fmla="*/ 0 h 2549339"/>
                <a:gd name="connsiteX1" fmla="*/ 2646000 w 2646000"/>
                <a:gd name="connsiteY1" fmla="*/ 0 h 2549339"/>
                <a:gd name="connsiteX2" fmla="*/ 2646000 w 2646000"/>
                <a:gd name="connsiteY2" fmla="*/ 2175380 h 2549339"/>
                <a:gd name="connsiteX3" fmla="*/ 1966075 w 2646000"/>
                <a:gd name="connsiteY3" fmla="*/ 2549339 h 2549339"/>
                <a:gd name="connsiteX4" fmla="*/ 0 w 2646000"/>
                <a:gd name="connsiteY4" fmla="*/ 2549339 h 254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6000" h="2549339">
                  <a:moveTo>
                    <a:pt x="0" y="0"/>
                  </a:moveTo>
                  <a:lnTo>
                    <a:pt x="2646000" y="0"/>
                  </a:lnTo>
                  <a:lnTo>
                    <a:pt x="2646000" y="2175380"/>
                  </a:lnTo>
                  <a:lnTo>
                    <a:pt x="1966075" y="2549339"/>
                  </a:lnTo>
                  <a:lnTo>
                    <a:pt x="0" y="2549339"/>
                  </a:lnTo>
                  <a:close/>
                </a:path>
              </a:pathLst>
            </a:custGeom>
            <a:solidFill>
              <a:srgbClr val="10ADAA"/>
            </a:solidFill>
          </p:spPr>
          <p:txBody>
            <a:bodyPr wrap="square" lIns="252000" tIns="252000" rtlCol="0">
              <a:noAutofit/>
            </a:bodyPr>
            <a:lstStyle/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ERST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MIT 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UNS</a:t>
              </a:r>
            </a:p>
            <a:p>
              <a:pPr>
                <a:lnSpc>
                  <a:spcPct val="70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STIMMT DIE CHEMIE</a:t>
              </a:r>
            </a:p>
            <a:p>
              <a:pPr>
                <a:lnSpc>
                  <a:spcPct val="75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AM STANDORT</a:t>
              </a: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434A4BB9-94D2-E312-47F4-7343046D23DA}"/>
                </a:ext>
              </a:extLst>
            </p:cNvPr>
            <p:cNvSpPr/>
            <p:nvPr userDrawn="1"/>
          </p:nvSpPr>
          <p:spPr>
            <a:xfrm rot="10800000">
              <a:off x="868708" y="3104965"/>
              <a:ext cx="3068811" cy="2639529"/>
            </a:xfrm>
            <a:custGeom>
              <a:avLst/>
              <a:gdLst>
                <a:gd name="connsiteX0" fmla="*/ 18153 w 3068811"/>
                <a:gd name="connsiteY0" fmla="*/ 3586 h 2639529"/>
                <a:gd name="connsiteX1" fmla="*/ 13384 w 3068811"/>
                <a:gd name="connsiteY1" fmla="*/ 1398 h 2639529"/>
                <a:gd name="connsiteX2" fmla="*/ 13133 w 3068811"/>
                <a:gd name="connsiteY2" fmla="*/ 0 h 2639529"/>
                <a:gd name="connsiteX3" fmla="*/ 11907 w 3068811"/>
                <a:gd name="connsiteY3" fmla="*/ 2639529 h 2639529"/>
                <a:gd name="connsiteX4" fmla="*/ 0 w 3068811"/>
                <a:gd name="connsiteY4" fmla="*/ 2639529 h 2639529"/>
                <a:gd name="connsiteX5" fmla="*/ 0 w 3068811"/>
                <a:gd name="connsiteY5" fmla="*/ 2637474 h 2639529"/>
                <a:gd name="connsiteX6" fmla="*/ 2453574 w 3068811"/>
                <a:gd name="connsiteY6" fmla="*/ 2639529 h 2639529"/>
                <a:gd name="connsiteX7" fmla="*/ 487535 w 3068811"/>
                <a:gd name="connsiteY7" fmla="*/ 2639529 h 2639529"/>
                <a:gd name="connsiteX8" fmla="*/ 21129 w 3068811"/>
                <a:gd name="connsiteY8" fmla="*/ 44489 h 2639529"/>
                <a:gd name="connsiteX9" fmla="*/ 3068811 w 3068811"/>
                <a:gd name="connsiteY9" fmla="*/ 2198423 h 263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68811" h="2639529">
                  <a:moveTo>
                    <a:pt x="18153" y="3586"/>
                  </a:moveTo>
                  <a:lnTo>
                    <a:pt x="13384" y="1398"/>
                  </a:lnTo>
                  <a:lnTo>
                    <a:pt x="13133" y="0"/>
                  </a:lnTo>
                  <a:close/>
                  <a:moveTo>
                    <a:pt x="11907" y="2639529"/>
                  </a:moveTo>
                  <a:lnTo>
                    <a:pt x="0" y="2639529"/>
                  </a:lnTo>
                  <a:lnTo>
                    <a:pt x="0" y="2637474"/>
                  </a:lnTo>
                  <a:close/>
                  <a:moveTo>
                    <a:pt x="2453574" y="2639529"/>
                  </a:moveTo>
                  <a:lnTo>
                    <a:pt x="487535" y="2639529"/>
                  </a:lnTo>
                  <a:lnTo>
                    <a:pt x="21129" y="44489"/>
                  </a:lnTo>
                  <a:lnTo>
                    <a:pt x="3068811" y="2198423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5373217"/>
            <a:ext cx="1800000" cy="1371844"/>
          </a:xfrm>
          <a:prstGeom prst="rect">
            <a:avLst/>
          </a:prstGeom>
        </p:spPr>
      </p:pic>
      <p:sp>
        <p:nvSpPr>
          <p:cNvPr id="38" name="Titel">
            <a:extLst>
              <a:ext uri="{FF2B5EF4-FFF2-40B4-BE49-F238E27FC236}">
                <a16:creationId xmlns:a16="http://schemas.microsoft.com/office/drawing/2014/main" id="{D04DF204-D32D-AB2A-F250-3B915846C9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800" y="2593479"/>
            <a:ext cx="7272808" cy="288310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Danke- / </a:t>
            </a:r>
            <a:br>
              <a:rPr lang="de-DE" dirty="0"/>
            </a:br>
            <a:r>
              <a:rPr lang="de-DE" dirty="0"/>
              <a:t>Abschied-Text</a:t>
            </a:r>
          </a:p>
        </p:txBody>
      </p:sp>
    </p:spTree>
    <p:extLst>
      <p:ext uri="{BB962C8B-B14F-4D97-AF65-F5344CB8AC3E}">
        <p14:creationId xmlns:p14="http://schemas.microsoft.com/office/powerpoint/2010/main" val="177535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>
          <p15:clr>
            <a:srgbClr val="FBAE40"/>
          </p15:clr>
        </p15:guide>
        <p15:guide id="2" pos="393">
          <p15:clr>
            <a:srgbClr val="FBAE4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IED | Türkis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FCD507F-A73F-C11B-91C5-76C79541A7CE}"/>
              </a:ext>
            </a:extLst>
          </p:cNvPr>
          <p:cNvGrpSpPr/>
          <p:nvPr userDrawn="1"/>
        </p:nvGrpSpPr>
        <p:grpSpPr>
          <a:xfrm>
            <a:off x="868708" y="555625"/>
            <a:ext cx="3260017" cy="5188869"/>
            <a:chOff x="868708" y="555625"/>
            <a:chExt cx="3260017" cy="5188869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348D40-7903-0FA1-FF0D-88EF1728ADA2}"/>
                </a:ext>
              </a:extLst>
            </p:cNvPr>
            <p:cNvSpPr/>
            <p:nvPr userDrawn="1"/>
          </p:nvSpPr>
          <p:spPr>
            <a:xfrm>
              <a:off x="873868" y="555625"/>
              <a:ext cx="612000" cy="2987126"/>
            </a:xfrm>
            <a:custGeom>
              <a:avLst/>
              <a:gdLst>
                <a:gd name="connsiteX0" fmla="*/ 612000 w 612000"/>
                <a:gd name="connsiteY0" fmla="*/ 0 h 2987126"/>
                <a:gd name="connsiteX1" fmla="*/ 612000 w 612000"/>
                <a:gd name="connsiteY1" fmla="*/ 2548798 h 2987126"/>
                <a:gd name="connsiteX2" fmla="*/ 640 w 612000"/>
                <a:gd name="connsiteY2" fmla="*/ 2987126 h 2987126"/>
                <a:gd name="connsiteX3" fmla="*/ 0 w 612000"/>
                <a:gd name="connsiteY3" fmla="*/ 2986677 h 2987126"/>
                <a:gd name="connsiteX4" fmla="*/ 0 w 612000"/>
                <a:gd name="connsiteY4" fmla="*/ 539021 h 298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2987126">
                  <a:moveTo>
                    <a:pt x="612000" y="0"/>
                  </a:moveTo>
                  <a:lnTo>
                    <a:pt x="612000" y="2548798"/>
                  </a:lnTo>
                  <a:lnTo>
                    <a:pt x="640" y="2987126"/>
                  </a:lnTo>
                  <a:lnTo>
                    <a:pt x="0" y="2986677"/>
                  </a:lnTo>
                  <a:lnTo>
                    <a:pt x="0" y="539021"/>
                  </a:lnTo>
                  <a:close/>
                </a:path>
              </a:pathLst>
            </a:custGeom>
            <a:solidFill>
              <a:srgbClr val="FF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D038A837-3CC8-5B8C-A6F3-06392B83AAC9}"/>
                </a:ext>
              </a:extLst>
            </p:cNvPr>
            <p:cNvSpPr txBox="1"/>
            <p:nvPr userDrawn="1"/>
          </p:nvSpPr>
          <p:spPr>
            <a:xfrm>
              <a:off x="1482725" y="555626"/>
              <a:ext cx="2646000" cy="2549339"/>
            </a:xfrm>
            <a:custGeom>
              <a:avLst/>
              <a:gdLst>
                <a:gd name="connsiteX0" fmla="*/ 0 w 2646000"/>
                <a:gd name="connsiteY0" fmla="*/ 0 h 2549339"/>
                <a:gd name="connsiteX1" fmla="*/ 2646000 w 2646000"/>
                <a:gd name="connsiteY1" fmla="*/ 0 h 2549339"/>
                <a:gd name="connsiteX2" fmla="*/ 2646000 w 2646000"/>
                <a:gd name="connsiteY2" fmla="*/ 2175380 h 2549339"/>
                <a:gd name="connsiteX3" fmla="*/ 1966075 w 2646000"/>
                <a:gd name="connsiteY3" fmla="*/ 2549339 h 2549339"/>
                <a:gd name="connsiteX4" fmla="*/ 0 w 2646000"/>
                <a:gd name="connsiteY4" fmla="*/ 2549339 h 254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6000" h="2549339">
                  <a:moveTo>
                    <a:pt x="0" y="0"/>
                  </a:moveTo>
                  <a:lnTo>
                    <a:pt x="2646000" y="0"/>
                  </a:lnTo>
                  <a:lnTo>
                    <a:pt x="2646000" y="2175380"/>
                  </a:lnTo>
                  <a:lnTo>
                    <a:pt x="1966075" y="2549339"/>
                  </a:lnTo>
                  <a:lnTo>
                    <a:pt x="0" y="2549339"/>
                  </a:lnTo>
                  <a:close/>
                </a:path>
              </a:pathLst>
            </a:custGeom>
            <a:solidFill>
              <a:srgbClr val="10ADAA"/>
            </a:solidFill>
          </p:spPr>
          <p:txBody>
            <a:bodyPr wrap="square" lIns="252000" tIns="252000" rtlCol="0">
              <a:noAutofit/>
            </a:bodyPr>
            <a:lstStyle/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ERST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MIT 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UNS</a:t>
              </a:r>
            </a:p>
            <a:p>
              <a:pPr>
                <a:lnSpc>
                  <a:spcPct val="70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STIMMT DIE CHEMIE</a:t>
              </a:r>
            </a:p>
            <a:p>
              <a:pPr>
                <a:lnSpc>
                  <a:spcPct val="75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AM STANDORT</a:t>
              </a: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434A4BB9-94D2-E312-47F4-7343046D23DA}"/>
                </a:ext>
              </a:extLst>
            </p:cNvPr>
            <p:cNvSpPr/>
            <p:nvPr userDrawn="1"/>
          </p:nvSpPr>
          <p:spPr>
            <a:xfrm rot="10800000">
              <a:off x="868708" y="3104965"/>
              <a:ext cx="3068811" cy="2639529"/>
            </a:xfrm>
            <a:custGeom>
              <a:avLst/>
              <a:gdLst>
                <a:gd name="connsiteX0" fmla="*/ 18153 w 3068811"/>
                <a:gd name="connsiteY0" fmla="*/ 3586 h 2639529"/>
                <a:gd name="connsiteX1" fmla="*/ 13384 w 3068811"/>
                <a:gd name="connsiteY1" fmla="*/ 1398 h 2639529"/>
                <a:gd name="connsiteX2" fmla="*/ 13133 w 3068811"/>
                <a:gd name="connsiteY2" fmla="*/ 0 h 2639529"/>
                <a:gd name="connsiteX3" fmla="*/ 11907 w 3068811"/>
                <a:gd name="connsiteY3" fmla="*/ 2639529 h 2639529"/>
                <a:gd name="connsiteX4" fmla="*/ 0 w 3068811"/>
                <a:gd name="connsiteY4" fmla="*/ 2639529 h 2639529"/>
                <a:gd name="connsiteX5" fmla="*/ 0 w 3068811"/>
                <a:gd name="connsiteY5" fmla="*/ 2637474 h 2639529"/>
                <a:gd name="connsiteX6" fmla="*/ 2453574 w 3068811"/>
                <a:gd name="connsiteY6" fmla="*/ 2639529 h 2639529"/>
                <a:gd name="connsiteX7" fmla="*/ 487535 w 3068811"/>
                <a:gd name="connsiteY7" fmla="*/ 2639529 h 2639529"/>
                <a:gd name="connsiteX8" fmla="*/ 21129 w 3068811"/>
                <a:gd name="connsiteY8" fmla="*/ 44489 h 2639529"/>
                <a:gd name="connsiteX9" fmla="*/ 3068811 w 3068811"/>
                <a:gd name="connsiteY9" fmla="*/ 2198423 h 263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68811" h="2639529">
                  <a:moveTo>
                    <a:pt x="18153" y="3586"/>
                  </a:moveTo>
                  <a:lnTo>
                    <a:pt x="13384" y="1398"/>
                  </a:lnTo>
                  <a:lnTo>
                    <a:pt x="13133" y="0"/>
                  </a:lnTo>
                  <a:close/>
                  <a:moveTo>
                    <a:pt x="11907" y="2639529"/>
                  </a:moveTo>
                  <a:lnTo>
                    <a:pt x="0" y="2639529"/>
                  </a:lnTo>
                  <a:lnTo>
                    <a:pt x="0" y="2637474"/>
                  </a:lnTo>
                  <a:close/>
                  <a:moveTo>
                    <a:pt x="2453574" y="2639529"/>
                  </a:moveTo>
                  <a:lnTo>
                    <a:pt x="487535" y="2639529"/>
                  </a:lnTo>
                  <a:lnTo>
                    <a:pt x="21129" y="44489"/>
                  </a:lnTo>
                  <a:lnTo>
                    <a:pt x="3068811" y="2198423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4" y="5373217"/>
            <a:ext cx="1800000" cy="1371844"/>
          </a:xfrm>
          <a:prstGeom prst="rect">
            <a:avLst/>
          </a:prstGeom>
        </p:spPr>
      </p:pic>
      <p:sp>
        <p:nvSpPr>
          <p:cNvPr id="38" name="Titel">
            <a:extLst>
              <a:ext uri="{FF2B5EF4-FFF2-40B4-BE49-F238E27FC236}">
                <a16:creationId xmlns:a16="http://schemas.microsoft.com/office/drawing/2014/main" id="{D04DF204-D32D-AB2A-F250-3B915846C9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800" y="2593479"/>
            <a:ext cx="7272808" cy="288310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Danke- / </a:t>
            </a:r>
            <a:br>
              <a:rPr lang="de-DE" dirty="0"/>
            </a:br>
            <a:r>
              <a:rPr lang="de-DE" dirty="0"/>
              <a:t>Abschied-Text</a:t>
            </a:r>
          </a:p>
        </p:txBody>
      </p:sp>
    </p:spTree>
    <p:extLst>
      <p:ext uri="{BB962C8B-B14F-4D97-AF65-F5344CB8AC3E}">
        <p14:creationId xmlns:p14="http://schemas.microsoft.com/office/powerpoint/2010/main" val="2980984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>
          <p15:clr>
            <a:srgbClr val="FBAE40"/>
          </p15:clr>
        </p15:guide>
        <p15:guide id="2" pos="393">
          <p15:clr>
            <a:srgbClr val="FBAE4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IED | Orange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FCD507F-A73F-C11B-91C5-76C79541A7CE}"/>
              </a:ext>
            </a:extLst>
          </p:cNvPr>
          <p:cNvGrpSpPr/>
          <p:nvPr userDrawn="1"/>
        </p:nvGrpSpPr>
        <p:grpSpPr>
          <a:xfrm>
            <a:off x="868708" y="555625"/>
            <a:ext cx="3260017" cy="5188869"/>
            <a:chOff x="868708" y="555625"/>
            <a:chExt cx="3260017" cy="5188869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348D40-7903-0FA1-FF0D-88EF1728ADA2}"/>
                </a:ext>
              </a:extLst>
            </p:cNvPr>
            <p:cNvSpPr/>
            <p:nvPr userDrawn="1"/>
          </p:nvSpPr>
          <p:spPr>
            <a:xfrm>
              <a:off x="873868" y="555625"/>
              <a:ext cx="612000" cy="2987126"/>
            </a:xfrm>
            <a:custGeom>
              <a:avLst/>
              <a:gdLst>
                <a:gd name="connsiteX0" fmla="*/ 612000 w 612000"/>
                <a:gd name="connsiteY0" fmla="*/ 0 h 2987126"/>
                <a:gd name="connsiteX1" fmla="*/ 612000 w 612000"/>
                <a:gd name="connsiteY1" fmla="*/ 2548798 h 2987126"/>
                <a:gd name="connsiteX2" fmla="*/ 640 w 612000"/>
                <a:gd name="connsiteY2" fmla="*/ 2987126 h 2987126"/>
                <a:gd name="connsiteX3" fmla="*/ 0 w 612000"/>
                <a:gd name="connsiteY3" fmla="*/ 2986677 h 2987126"/>
                <a:gd name="connsiteX4" fmla="*/ 0 w 612000"/>
                <a:gd name="connsiteY4" fmla="*/ 539021 h 298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2987126">
                  <a:moveTo>
                    <a:pt x="612000" y="0"/>
                  </a:moveTo>
                  <a:lnTo>
                    <a:pt x="612000" y="2548798"/>
                  </a:lnTo>
                  <a:lnTo>
                    <a:pt x="640" y="2987126"/>
                  </a:lnTo>
                  <a:lnTo>
                    <a:pt x="0" y="2986677"/>
                  </a:lnTo>
                  <a:lnTo>
                    <a:pt x="0" y="539021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D038A837-3CC8-5B8C-A6F3-06392B83AAC9}"/>
                </a:ext>
              </a:extLst>
            </p:cNvPr>
            <p:cNvSpPr txBox="1"/>
            <p:nvPr userDrawn="1"/>
          </p:nvSpPr>
          <p:spPr>
            <a:xfrm>
              <a:off x="1482725" y="555626"/>
              <a:ext cx="2646000" cy="2549339"/>
            </a:xfrm>
            <a:custGeom>
              <a:avLst/>
              <a:gdLst>
                <a:gd name="connsiteX0" fmla="*/ 0 w 2646000"/>
                <a:gd name="connsiteY0" fmla="*/ 0 h 2549339"/>
                <a:gd name="connsiteX1" fmla="*/ 2646000 w 2646000"/>
                <a:gd name="connsiteY1" fmla="*/ 0 h 2549339"/>
                <a:gd name="connsiteX2" fmla="*/ 2646000 w 2646000"/>
                <a:gd name="connsiteY2" fmla="*/ 2175380 h 2549339"/>
                <a:gd name="connsiteX3" fmla="*/ 1966075 w 2646000"/>
                <a:gd name="connsiteY3" fmla="*/ 2549339 h 2549339"/>
                <a:gd name="connsiteX4" fmla="*/ 0 w 2646000"/>
                <a:gd name="connsiteY4" fmla="*/ 2549339 h 254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6000" h="2549339">
                  <a:moveTo>
                    <a:pt x="0" y="0"/>
                  </a:moveTo>
                  <a:lnTo>
                    <a:pt x="2646000" y="0"/>
                  </a:lnTo>
                  <a:lnTo>
                    <a:pt x="2646000" y="2175380"/>
                  </a:lnTo>
                  <a:lnTo>
                    <a:pt x="1966075" y="2549339"/>
                  </a:lnTo>
                  <a:lnTo>
                    <a:pt x="0" y="2549339"/>
                  </a:lnTo>
                  <a:close/>
                </a:path>
              </a:pathLst>
            </a:custGeom>
            <a:solidFill>
              <a:srgbClr val="FF4414"/>
            </a:solidFill>
          </p:spPr>
          <p:txBody>
            <a:bodyPr wrap="square" lIns="252000" tIns="252000" rtlCol="0">
              <a:noAutofit/>
            </a:bodyPr>
            <a:lstStyle/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ERST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MIT 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UNS</a:t>
              </a:r>
            </a:p>
            <a:p>
              <a:pPr>
                <a:lnSpc>
                  <a:spcPct val="70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STIMMT DIE CHEMIE</a:t>
              </a:r>
            </a:p>
            <a:p>
              <a:pPr>
                <a:lnSpc>
                  <a:spcPct val="75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AM STANDORT</a:t>
              </a: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434A4BB9-94D2-E312-47F4-7343046D23DA}"/>
                </a:ext>
              </a:extLst>
            </p:cNvPr>
            <p:cNvSpPr/>
            <p:nvPr userDrawn="1"/>
          </p:nvSpPr>
          <p:spPr>
            <a:xfrm rot="10800000">
              <a:off x="868708" y="3104965"/>
              <a:ext cx="3068811" cy="2639529"/>
            </a:xfrm>
            <a:custGeom>
              <a:avLst/>
              <a:gdLst>
                <a:gd name="connsiteX0" fmla="*/ 18153 w 3068811"/>
                <a:gd name="connsiteY0" fmla="*/ 3586 h 2639529"/>
                <a:gd name="connsiteX1" fmla="*/ 13384 w 3068811"/>
                <a:gd name="connsiteY1" fmla="*/ 1398 h 2639529"/>
                <a:gd name="connsiteX2" fmla="*/ 13133 w 3068811"/>
                <a:gd name="connsiteY2" fmla="*/ 0 h 2639529"/>
                <a:gd name="connsiteX3" fmla="*/ 11907 w 3068811"/>
                <a:gd name="connsiteY3" fmla="*/ 2639529 h 2639529"/>
                <a:gd name="connsiteX4" fmla="*/ 0 w 3068811"/>
                <a:gd name="connsiteY4" fmla="*/ 2639529 h 2639529"/>
                <a:gd name="connsiteX5" fmla="*/ 0 w 3068811"/>
                <a:gd name="connsiteY5" fmla="*/ 2637474 h 2639529"/>
                <a:gd name="connsiteX6" fmla="*/ 2453574 w 3068811"/>
                <a:gd name="connsiteY6" fmla="*/ 2639529 h 2639529"/>
                <a:gd name="connsiteX7" fmla="*/ 487535 w 3068811"/>
                <a:gd name="connsiteY7" fmla="*/ 2639529 h 2639529"/>
                <a:gd name="connsiteX8" fmla="*/ 21129 w 3068811"/>
                <a:gd name="connsiteY8" fmla="*/ 44489 h 2639529"/>
                <a:gd name="connsiteX9" fmla="*/ 3068811 w 3068811"/>
                <a:gd name="connsiteY9" fmla="*/ 2198423 h 263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68811" h="2639529">
                  <a:moveTo>
                    <a:pt x="18153" y="3586"/>
                  </a:moveTo>
                  <a:lnTo>
                    <a:pt x="13384" y="1398"/>
                  </a:lnTo>
                  <a:lnTo>
                    <a:pt x="13133" y="0"/>
                  </a:lnTo>
                  <a:close/>
                  <a:moveTo>
                    <a:pt x="11907" y="2639529"/>
                  </a:moveTo>
                  <a:lnTo>
                    <a:pt x="0" y="2639529"/>
                  </a:lnTo>
                  <a:lnTo>
                    <a:pt x="0" y="2637474"/>
                  </a:lnTo>
                  <a:close/>
                  <a:moveTo>
                    <a:pt x="2453574" y="2639529"/>
                  </a:moveTo>
                  <a:lnTo>
                    <a:pt x="487535" y="2639529"/>
                  </a:lnTo>
                  <a:lnTo>
                    <a:pt x="21129" y="44489"/>
                  </a:lnTo>
                  <a:lnTo>
                    <a:pt x="3068811" y="2198423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5" y="5373217"/>
            <a:ext cx="1799998" cy="1371844"/>
          </a:xfrm>
          <a:prstGeom prst="rect">
            <a:avLst/>
          </a:prstGeom>
        </p:spPr>
      </p:pic>
      <p:sp>
        <p:nvSpPr>
          <p:cNvPr id="38" name="Titel">
            <a:extLst>
              <a:ext uri="{FF2B5EF4-FFF2-40B4-BE49-F238E27FC236}">
                <a16:creationId xmlns:a16="http://schemas.microsoft.com/office/drawing/2014/main" id="{D04DF204-D32D-AB2A-F250-3B915846C9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800" y="2593479"/>
            <a:ext cx="7272808" cy="288310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Danke- / </a:t>
            </a:r>
            <a:br>
              <a:rPr lang="de-DE" dirty="0"/>
            </a:br>
            <a:r>
              <a:rPr lang="de-DE" dirty="0"/>
              <a:t>Abschied-Text</a:t>
            </a:r>
          </a:p>
        </p:txBody>
      </p:sp>
    </p:spTree>
    <p:extLst>
      <p:ext uri="{BB962C8B-B14F-4D97-AF65-F5344CB8AC3E}">
        <p14:creationId xmlns:p14="http://schemas.microsoft.com/office/powerpoint/2010/main" val="324396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>
          <p15:clr>
            <a:srgbClr val="FBAE40"/>
          </p15:clr>
        </p15:guide>
        <p15:guide id="2" pos="39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Grün/Dunkel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002" y="5781691"/>
            <a:ext cx="2735995" cy="1076179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10A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12102" y="4799592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EFA574CC-0E7C-4139-BDB9-FBFEC0A4667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4399356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IED | Orange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FCD507F-A73F-C11B-91C5-76C79541A7CE}"/>
              </a:ext>
            </a:extLst>
          </p:cNvPr>
          <p:cNvGrpSpPr/>
          <p:nvPr userDrawn="1"/>
        </p:nvGrpSpPr>
        <p:grpSpPr>
          <a:xfrm>
            <a:off x="868708" y="555625"/>
            <a:ext cx="3260017" cy="5188869"/>
            <a:chOff x="868708" y="555625"/>
            <a:chExt cx="3260017" cy="5188869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348D40-7903-0FA1-FF0D-88EF1728ADA2}"/>
                </a:ext>
              </a:extLst>
            </p:cNvPr>
            <p:cNvSpPr/>
            <p:nvPr userDrawn="1"/>
          </p:nvSpPr>
          <p:spPr>
            <a:xfrm>
              <a:off x="873868" y="555625"/>
              <a:ext cx="612000" cy="2987126"/>
            </a:xfrm>
            <a:custGeom>
              <a:avLst/>
              <a:gdLst>
                <a:gd name="connsiteX0" fmla="*/ 612000 w 612000"/>
                <a:gd name="connsiteY0" fmla="*/ 0 h 2987126"/>
                <a:gd name="connsiteX1" fmla="*/ 612000 w 612000"/>
                <a:gd name="connsiteY1" fmla="*/ 2548798 h 2987126"/>
                <a:gd name="connsiteX2" fmla="*/ 640 w 612000"/>
                <a:gd name="connsiteY2" fmla="*/ 2987126 h 2987126"/>
                <a:gd name="connsiteX3" fmla="*/ 0 w 612000"/>
                <a:gd name="connsiteY3" fmla="*/ 2986677 h 2987126"/>
                <a:gd name="connsiteX4" fmla="*/ 0 w 612000"/>
                <a:gd name="connsiteY4" fmla="*/ 539021 h 298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2987126">
                  <a:moveTo>
                    <a:pt x="612000" y="0"/>
                  </a:moveTo>
                  <a:lnTo>
                    <a:pt x="612000" y="2548798"/>
                  </a:lnTo>
                  <a:lnTo>
                    <a:pt x="640" y="2987126"/>
                  </a:lnTo>
                  <a:lnTo>
                    <a:pt x="0" y="2986677"/>
                  </a:lnTo>
                  <a:lnTo>
                    <a:pt x="0" y="539021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D038A837-3CC8-5B8C-A6F3-06392B83AAC9}"/>
                </a:ext>
              </a:extLst>
            </p:cNvPr>
            <p:cNvSpPr txBox="1"/>
            <p:nvPr userDrawn="1"/>
          </p:nvSpPr>
          <p:spPr>
            <a:xfrm>
              <a:off x="1482725" y="555626"/>
              <a:ext cx="2646000" cy="2549339"/>
            </a:xfrm>
            <a:custGeom>
              <a:avLst/>
              <a:gdLst>
                <a:gd name="connsiteX0" fmla="*/ 0 w 2646000"/>
                <a:gd name="connsiteY0" fmla="*/ 0 h 2549339"/>
                <a:gd name="connsiteX1" fmla="*/ 2646000 w 2646000"/>
                <a:gd name="connsiteY1" fmla="*/ 0 h 2549339"/>
                <a:gd name="connsiteX2" fmla="*/ 2646000 w 2646000"/>
                <a:gd name="connsiteY2" fmla="*/ 2175380 h 2549339"/>
                <a:gd name="connsiteX3" fmla="*/ 1966075 w 2646000"/>
                <a:gd name="connsiteY3" fmla="*/ 2549339 h 2549339"/>
                <a:gd name="connsiteX4" fmla="*/ 0 w 2646000"/>
                <a:gd name="connsiteY4" fmla="*/ 2549339 h 254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6000" h="2549339">
                  <a:moveTo>
                    <a:pt x="0" y="0"/>
                  </a:moveTo>
                  <a:lnTo>
                    <a:pt x="2646000" y="0"/>
                  </a:lnTo>
                  <a:lnTo>
                    <a:pt x="2646000" y="2175380"/>
                  </a:lnTo>
                  <a:lnTo>
                    <a:pt x="1966075" y="2549339"/>
                  </a:lnTo>
                  <a:lnTo>
                    <a:pt x="0" y="2549339"/>
                  </a:lnTo>
                  <a:close/>
                </a:path>
              </a:pathLst>
            </a:custGeom>
            <a:solidFill>
              <a:srgbClr val="FF4414"/>
            </a:solidFill>
          </p:spPr>
          <p:txBody>
            <a:bodyPr wrap="square" lIns="252000" tIns="252000" rtlCol="0">
              <a:noAutofit/>
            </a:bodyPr>
            <a:lstStyle/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ERST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MIT </a:t>
              </a:r>
            </a:p>
            <a:p>
              <a:pPr>
                <a:lnSpc>
                  <a:spcPct val="70000"/>
                </a:lnSpc>
              </a:pPr>
              <a:r>
                <a:rPr lang="de-DE" sz="56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UNS</a:t>
              </a:r>
            </a:p>
            <a:p>
              <a:pPr>
                <a:lnSpc>
                  <a:spcPct val="70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STIMMT DIE CHEMIE</a:t>
              </a:r>
            </a:p>
            <a:p>
              <a:pPr>
                <a:lnSpc>
                  <a:spcPct val="75000"/>
                </a:lnSpc>
              </a:pPr>
              <a:r>
                <a:rPr lang="de-DE" sz="1400" dirty="0">
                  <a:solidFill>
                    <a:srgbClr val="FFFFFF"/>
                  </a:solidFill>
                  <a:latin typeface="Gotham Black" panose="02000603040000020004" pitchFamily="2" charset="0"/>
                </a:rPr>
                <a:t>AM STANDORT</a:t>
              </a: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434A4BB9-94D2-E312-47F4-7343046D23DA}"/>
                </a:ext>
              </a:extLst>
            </p:cNvPr>
            <p:cNvSpPr/>
            <p:nvPr userDrawn="1"/>
          </p:nvSpPr>
          <p:spPr>
            <a:xfrm rot="10800000">
              <a:off x="868708" y="3104965"/>
              <a:ext cx="3068811" cy="2639529"/>
            </a:xfrm>
            <a:custGeom>
              <a:avLst/>
              <a:gdLst>
                <a:gd name="connsiteX0" fmla="*/ 18153 w 3068811"/>
                <a:gd name="connsiteY0" fmla="*/ 3586 h 2639529"/>
                <a:gd name="connsiteX1" fmla="*/ 13384 w 3068811"/>
                <a:gd name="connsiteY1" fmla="*/ 1398 h 2639529"/>
                <a:gd name="connsiteX2" fmla="*/ 13133 w 3068811"/>
                <a:gd name="connsiteY2" fmla="*/ 0 h 2639529"/>
                <a:gd name="connsiteX3" fmla="*/ 11907 w 3068811"/>
                <a:gd name="connsiteY3" fmla="*/ 2639529 h 2639529"/>
                <a:gd name="connsiteX4" fmla="*/ 0 w 3068811"/>
                <a:gd name="connsiteY4" fmla="*/ 2639529 h 2639529"/>
                <a:gd name="connsiteX5" fmla="*/ 0 w 3068811"/>
                <a:gd name="connsiteY5" fmla="*/ 2637474 h 2639529"/>
                <a:gd name="connsiteX6" fmla="*/ 2453574 w 3068811"/>
                <a:gd name="connsiteY6" fmla="*/ 2639529 h 2639529"/>
                <a:gd name="connsiteX7" fmla="*/ 487535 w 3068811"/>
                <a:gd name="connsiteY7" fmla="*/ 2639529 h 2639529"/>
                <a:gd name="connsiteX8" fmla="*/ 21129 w 3068811"/>
                <a:gd name="connsiteY8" fmla="*/ 44489 h 2639529"/>
                <a:gd name="connsiteX9" fmla="*/ 3068811 w 3068811"/>
                <a:gd name="connsiteY9" fmla="*/ 2198423 h 263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68811" h="2639529">
                  <a:moveTo>
                    <a:pt x="18153" y="3586"/>
                  </a:moveTo>
                  <a:lnTo>
                    <a:pt x="13384" y="1398"/>
                  </a:lnTo>
                  <a:lnTo>
                    <a:pt x="13133" y="0"/>
                  </a:lnTo>
                  <a:close/>
                  <a:moveTo>
                    <a:pt x="11907" y="2639529"/>
                  </a:moveTo>
                  <a:lnTo>
                    <a:pt x="0" y="2639529"/>
                  </a:lnTo>
                  <a:lnTo>
                    <a:pt x="0" y="2637474"/>
                  </a:lnTo>
                  <a:close/>
                  <a:moveTo>
                    <a:pt x="2453574" y="2639529"/>
                  </a:moveTo>
                  <a:lnTo>
                    <a:pt x="487535" y="2639529"/>
                  </a:lnTo>
                  <a:lnTo>
                    <a:pt x="21129" y="44489"/>
                  </a:lnTo>
                  <a:lnTo>
                    <a:pt x="3068811" y="2198423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30" name="Logo">
            <a:extLst>
              <a:ext uri="{FF2B5EF4-FFF2-40B4-BE49-F238E27FC236}">
                <a16:creationId xmlns:a16="http://schemas.microsoft.com/office/drawing/2014/main" id="{F89112BE-5D98-498A-0750-BDA14064B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72465" y="5373217"/>
            <a:ext cx="1799998" cy="1371844"/>
          </a:xfrm>
          <a:prstGeom prst="rect">
            <a:avLst/>
          </a:prstGeom>
        </p:spPr>
      </p:pic>
      <p:sp>
        <p:nvSpPr>
          <p:cNvPr id="38" name="Titel">
            <a:extLst>
              <a:ext uri="{FF2B5EF4-FFF2-40B4-BE49-F238E27FC236}">
                <a16:creationId xmlns:a16="http://schemas.microsoft.com/office/drawing/2014/main" id="{D04DF204-D32D-AB2A-F250-3B915846C9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800" y="2593479"/>
            <a:ext cx="7272808" cy="2883101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Danke- / </a:t>
            </a:r>
            <a:br>
              <a:rPr lang="de-DE" dirty="0"/>
            </a:br>
            <a:r>
              <a:rPr lang="de-DE" dirty="0"/>
              <a:t>Abschied-Text</a:t>
            </a:r>
          </a:p>
        </p:txBody>
      </p:sp>
    </p:spTree>
    <p:extLst>
      <p:ext uri="{BB962C8B-B14F-4D97-AF65-F5344CB8AC3E}">
        <p14:creationId xmlns:p14="http://schemas.microsoft.com/office/powerpoint/2010/main" val="1000854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>
          <p15:clr>
            <a:srgbClr val="FBAE40"/>
          </p15:clr>
        </p15:guide>
        <p15:guide id="2" pos="393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| Pink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67B9777-628C-43D9-A774-20F73607AFF9}"/>
              </a:ext>
            </a:extLst>
          </p:cNvPr>
          <p:cNvGrpSpPr/>
          <p:nvPr userDrawn="1"/>
        </p:nvGrpSpPr>
        <p:grpSpPr>
          <a:xfrm>
            <a:off x="4563" y="2582"/>
            <a:ext cx="12187438" cy="6855418"/>
            <a:chOff x="4563" y="2582"/>
            <a:chExt cx="12187438" cy="685541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09115DD-ECC0-5097-8F9B-571B46FD1CA9}"/>
                </a:ext>
              </a:extLst>
            </p:cNvPr>
            <p:cNvSpPr/>
            <p:nvPr userDrawn="1"/>
          </p:nvSpPr>
          <p:spPr>
            <a:xfrm>
              <a:off x="4563" y="2582"/>
              <a:ext cx="12187437" cy="4101024"/>
            </a:xfrm>
            <a:prstGeom prst="rect">
              <a:avLst/>
            </a:pr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>
                <a:tabLst>
                  <a:tab pos="180340" algn="l"/>
                </a:tabLst>
              </a:pPr>
              <a:endParaRPr lang="de-DE" sz="18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47EB0EF-B5EE-A7CA-902A-54EB9DCDD264}"/>
                </a:ext>
              </a:extLst>
            </p:cNvPr>
            <p:cNvSpPr/>
            <p:nvPr userDrawn="1"/>
          </p:nvSpPr>
          <p:spPr>
            <a:xfrm rot="16200000">
              <a:off x="7339491" y="2005490"/>
              <a:ext cx="3609020" cy="6096000"/>
            </a:xfrm>
            <a:prstGeom prst="rtTriangle">
              <a:avLst/>
            </a:pr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11944" y="5656100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503436D-BFF1-887B-781E-840EACF6C1B9}"/>
              </a:ext>
            </a:extLst>
          </p:cNvPr>
          <p:cNvSpPr txBox="1"/>
          <p:nvPr userDrawn="1"/>
        </p:nvSpPr>
        <p:spPr>
          <a:xfrm>
            <a:off x="793128" y="4305619"/>
            <a:ext cx="865124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kern="900" cap="all" spc="40" baseline="0" dirty="0">
                <a:solidFill>
                  <a:srgbClr val="FFFFFF"/>
                </a:solidFill>
                <a:effectLst/>
                <a:latin typeface="Montserrat Black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  <a:endParaRPr lang="de-DE" sz="2400" kern="900" cap="all" spc="40" baseline="0" dirty="0">
              <a:solidFill>
                <a:srgbClr val="FFFFFF"/>
              </a:solidFill>
              <a:effectLst/>
              <a:latin typeface="Montserrat Black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0BA91C-05C0-373A-E4A7-278808A5B929}"/>
              </a:ext>
            </a:extLst>
          </p:cNvPr>
          <p:cNvSpPr txBox="1"/>
          <p:nvPr userDrawn="1"/>
        </p:nvSpPr>
        <p:spPr>
          <a:xfrm>
            <a:off x="793128" y="4771630"/>
            <a:ext cx="6444716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7917AF-9D52-7267-D25D-9326E705CC00}"/>
              </a:ext>
            </a:extLst>
          </p:cNvPr>
          <p:cNvSpPr txBox="1"/>
          <p:nvPr userDrawn="1"/>
        </p:nvSpPr>
        <p:spPr>
          <a:xfrm>
            <a:off x="793128" y="5771029"/>
            <a:ext cx="644471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800" b="1" u="sng" kern="900" dirty="0">
                <a:solidFill>
                  <a:srgbClr val="FF3EB5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DACD2C60-F32F-310E-E4FD-3B32B5D40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8" y="509982"/>
            <a:ext cx="7535120" cy="900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Kontakt-Foli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DEE69585-943E-2B3E-3673-6387884C0D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750" y="1557338"/>
            <a:ext cx="7534443" cy="369332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de-DE" sz="2400" b="1" kern="900" cap="all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Kontakt-Person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BBA35E93-401B-9E4F-B4E1-8A0738AEB0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987" y="2103031"/>
            <a:ext cx="7534443" cy="1758017"/>
          </a:xfrm>
          <a:noFill/>
        </p:spPr>
        <p:txBody>
          <a:bodyPr wrap="square" lIns="0" tIns="0" rIns="0" bIns="0">
            <a:noAutofit/>
          </a:bodyPr>
          <a:lstStyle>
            <a:lvl1pPr marL="0" indent="0">
              <a:buFontTx/>
              <a:buNone/>
              <a:defRPr lang="de-DE" sz="2400" b="0" kern="900" cap="none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Funktion und Kontaktda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2C02CC-1C6D-5782-9417-177305188C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21562" y="96988"/>
            <a:ext cx="3636000" cy="277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8556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| Türkis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67B9777-628C-43D9-A774-20F73607AFF9}"/>
              </a:ext>
            </a:extLst>
          </p:cNvPr>
          <p:cNvGrpSpPr/>
          <p:nvPr userDrawn="1"/>
        </p:nvGrpSpPr>
        <p:grpSpPr>
          <a:xfrm>
            <a:off x="4563" y="2582"/>
            <a:ext cx="12187438" cy="6855418"/>
            <a:chOff x="4563" y="2582"/>
            <a:chExt cx="12187438" cy="685541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09115DD-ECC0-5097-8F9B-571B46FD1CA9}"/>
                </a:ext>
              </a:extLst>
            </p:cNvPr>
            <p:cNvSpPr/>
            <p:nvPr userDrawn="1"/>
          </p:nvSpPr>
          <p:spPr>
            <a:xfrm>
              <a:off x="4563" y="2582"/>
              <a:ext cx="12187437" cy="4101024"/>
            </a:xfrm>
            <a:prstGeom prst="rect">
              <a:avLst/>
            </a:pr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>
                <a:tabLst>
                  <a:tab pos="180340" algn="l"/>
                </a:tabLst>
              </a:pPr>
              <a:endParaRPr lang="de-DE" sz="18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47EB0EF-B5EE-A7CA-902A-54EB9DCDD264}"/>
                </a:ext>
              </a:extLst>
            </p:cNvPr>
            <p:cNvSpPr/>
            <p:nvPr userDrawn="1"/>
          </p:nvSpPr>
          <p:spPr>
            <a:xfrm rot="16200000">
              <a:off x="7339491" y="2005490"/>
              <a:ext cx="3609020" cy="6096000"/>
            </a:xfrm>
            <a:prstGeom prst="rtTriangle">
              <a:avLst/>
            </a:pr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11944" y="5656100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503436D-BFF1-887B-781E-840EACF6C1B9}"/>
              </a:ext>
            </a:extLst>
          </p:cNvPr>
          <p:cNvSpPr txBox="1"/>
          <p:nvPr userDrawn="1"/>
        </p:nvSpPr>
        <p:spPr>
          <a:xfrm>
            <a:off x="793128" y="4305619"/>
            <a:ext cx="865124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kern="900" cap="all" spc="40" baseline="0" dirty="0">
                <a:solidFill>
                  <a:srgbClr val="FFFFFF"/>
                </a:solidFill>
                <a:effectLst/>
                <a:latin typeface="Montserrat Black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  <a:endParaRPr lang="de-DE" sz="2400" kern="900" cap="all" spc="40" baseline="0" dirty="0">
              <a:solidFill>
                <a:srgbClr val="FFFFFF"/>
              </a:solidFill>
              <a:effectLst/>
              <a:latin typeface="Montserrat Black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0BA91C-05C0-373A-E4A7-278808A5B929}"/>
              </a:ext>
            </a:extLst>
          </p:cNvPr>
          <p:cNvSpPr txBox="1"/>
          <p:nvPr userDrawn="1"/>
        </p:nvSpPr>
        <p:spPr>
          <a:xfrm>
            <a:off x="793128" y="4771630"/>
            <a:ext cx="6444716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7917AF-9D52-7267-D25D-9326E705CC00}"/>
              </a:ext>
            </a:extLst>
          </p:cNvPr>
          <p:cNvSpPr txBox="1"/>
          <p:nvPr userDrawn="1"/>
        </p:nvSpPr>
        <p:spPr>
          <a:xfrm>
            <a:off x="793128" y="5771029"/>
            <a:ext cx="644471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800" b="1" u="sng" kern="900" dirty="0">
                <a:solidFill>
                  <a:srgbClr val="10ADAA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DACD2C60-F32F-310E-E4FD-3B32B5D40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8" y="509982"/>
            <a:ext cx="7535120" cy="900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Kontakt-Foli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DEE69585-943E-2B3E-3673-6387884C0D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750" y="1557338"/>
            <a:ext cx="7534443" cy="369332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de-DE" sz="2400" b="1" kern="900" cap="all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Kontakt-Person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BBA35E93-401B-9E4F-B4E1-8A0738AEB0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987" y="2103031"/>
            <a:ext cx="7534443" cy="1758017"/>
          </a:xfrm>
          <a:noFill/>
        </p:spPr>
        <p:txBody>
          <a:bodyPr wrap="square" lIns="0" tIns="0" rIns="0" bIns="0">
            <a:noAutofit/>
          </a:bodyPr>
          <a:lstStyle>
            <a:lvl1pPr marL="0" indent="0">
              <a:buFontTx/>
              <a:buNone/>
              <a:defRPr lang="de-DE" sz="2400" b="0" kern="900" cap="none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Funktion und Kontaktda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2C02CC-1C6D-5782-9417-177305188C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21562" y="96988"/>
            <a:ext cx="3635999" cy="277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23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| Violett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67B9777-628C-43D9-A774-20F73607AFF9}"/>
              </a:ext>
            </a:extLst>
          </p:cNvPr>
          <p:cNvGrpSpPr/>
          <p:nvPr userDrawn="1"/>
        </p:nvGrpSpPr>
        <p:grpSpPr>
          <a:xfrm>
            <a:off x="4563" y="2582"/>
            <a:ext cx="12187438" cy="6855418"/>
            <a:chOff x="4563" y="2582"/>
            <a:chExt cx="12187438" cy="685541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09115DD-ECC0-5097-8F9B-571B46FD1CA9}"/>
                </a:ext>
              </a:extLst>
            </p:cNvPr>
            <p:cNvSpPr/>
            <p:nvPr userDrawn="1"/>
          </p:nvSpPr>
          <p:spPr>
            <a:xfrm>
              <a:off x="4563" y="2582"/>
              <a:ext cx="12187437" cy="4101024"/>
            </a:xfrm>
            <a:prstGeom prst="rect">
              <a:avLst/>
            </a:pr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>
                <a:tabLst>
                  <a:tab pos="180340" algn="l"/>
                </a:tabLst>
              </a:pPr>
              <a:endParaRPr lang="de-DE" sz="18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47EB0EF-B5EE-A7CA-902A-54EB9DCDD264}"/>
                </a:ext>
              </a:extLst>
            </p:cNvPr>
            <p:cNvSpPr/>
            <p:nvPr userDrawn="1"/>
          </p:nvSpPr>
          <p:spPr>
            <a:xfrm rot="16200000">
              <a:off x="7339491" y="2005490"/>
              <a:ext cx="3609020" cy="6096000"/>
            </a:xfrm>
            <a:prstGeom prst="rtTriangle">
              <a:avLst/>
            </a:pr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11944" y="5656100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503436D-BFF1-887B-781E-840EACF6C1B9}"/>
              </a:ext>
            </a:extLst>
          </p:cNvPr>
          <p:cNvSpPr txBox="1"/>
          <p:nvPr userDrawn="1"/>
        </p:nvSpPr>
        <p:spPr>
          <a:xfrm>
            <a:off x="793128" y="4305619"/>
            <a:ext cx="865124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kern="900" cap="all" spc="40" baseline="0" dirty="0">
                <a:solidFill>
                  <a:srgbClr val="FFFFFF"/>
                </a:solidFill>
                <a:effectLst/>
                <a:latin typeface="Montserrat Black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  <a:endParaRPr lang="de-DE" sz="2400" kern="900" cap="all" spc="40" baseline="0" dirty="0">
              <a:solidFill>
                <a:srgbClr val="FFFFFF"/>
              </a:solidFill>
              <a:effectLst/>
              <a:latin typeface="Montserrat Black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0BA91C-05C0-373A-E4A7-278808A5B929}"/>
              </a:ext>
            </a:extLst>
          </p:cNvPr>
          <p:cNvSpPr txBox="1"/>
          <p:nvPr userDrawn="1"/>
        </p:nvSpPr>
        <p:spPr>
          <a:xfrm>
            <a:off x="793128" y="4771630"/>
            <a:ext cx="6444716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7917AF-9D52-7267-D25D-9326E705CC00}"/>
              </a:ext>
            </a:extLst>
          </p:cNvPr>
          <p:cNvSpPr txBox="1"/>
          <p:nvPr userDrawn="1"/>
        </p:nvSpPr>
        <p:spPr>
          <a:xfrm>
            <a:off x="793128" y="5771029"/>
            <a:ext cx="644471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800" b="1" u="sng" kern="900" dirty="0">
                <a:solidFill>
                  <a:srgbClr val="8C3E9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DACD2C60-F32F-310E-E4FD-3B32B5D40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8" y="509982"/>
            <a:ext cx="7535120" cy="900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Kontakt-Foli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DEE69585-943E-2B3E-3673-6387884C0D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750" y="1557338"/>
            <a:ext cx="7534443" cy="369332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de-DE" sz="2400" b="1" kern="900" cap="all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Kontakt-Person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BBA35E93-401B-9E4F-B4E1-8A0738AEB0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987" y="2103031"/>
            <a:ext cx="7534443" cy="1758017"/>
          </a:xfrm>
          <a:noFill/>
        </p:spPr>
        <p:txBody>
          <a:bodyPr wrap="square" lIns="0" tIns="0" rIns="0" bIns="0">
            <a:noAutofit/>
          </a:bodyPr>
          <a:lstStyle>
            <a:lvl1pPr marL="0" indent="0">
              <a:buFontTx/>
              <a:buNone/>
              <a:defRPr lang="de-DE" sz="2400" b="0" kern="900" cap="none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Funktion und Kontaktda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2C02CC-1C6D-5782-9417-177305188C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21562" y="96988"/>
            <a:ext cx="3636000" cy="277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080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| Orange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67B9777-628C-43D9-A774-20F73607AFF9}"/>
              </a:ext>
            </a:extLst>
          </p:cNvPr>
          <p:cNvGrpSpPr/>
          <p:nvPr userDrawn="1"/>
        </p:nvGrpSpPr>
        <p:grpSpPr>
          <a:xfrm>
            <a:off x="4563" y="2582"/>
            <a:ext cx="12187438" cy="6855418"/>
            <a:chOff x="4563" y="2582"/>
            <a:chExt cx="12187438" cy="685541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09115DD-ECC0-5097-8F9B-571B46FD1CA9}"/>
                </a:ext>
              </a:extLst>
            </p:cNvPr>
            <p:cNvSpPr/>
            <p:nvPr userDrawn="1"/>
          </p:nvSpPr>
          <p:spPr>
            <a:xfrm>
              <a:off x="4563" y="2582"/>
              <a:ext cx="12187437" cy="4101024"/>
            </a:xfrm>
            <a:prstGeom prst="rect">
              <a:avLst/>
            </a:pr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>
                <a:tabLst>
                  <a:tab pos="180340" algn="l"/>
                </a:tabLst>
              </a:pPr>
              <a:endParaRPr lang="de-DE" sz="18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47EB0EF-B5EE-A7CA-902A-54EB9DCDD264}"/>
                </a:ext>
              </a:extLst>
            </p:cNvPr>
            <p:cNvSpPr/>
            <p:nvPr userDrawn="1"/>
          </p:nvSpPr>
          <p:spPr>
            <a:xfrm rot="16200000">
              <a:off x="7339491" y="2005490"/>
              <a:ext cx="3609020" cy="6096000"/>
            </a:xfrm>
            <a:prstGeom prst="rtTriangle">
              <a:avLst/>
            </a:pr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11944" y="5656100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503436D-BFF1-887B-781E-840EACF6C1B9}"/>
              </a:ext>
            </a:extLst>
          </p:cNvPr>
          <p:cNvSpPr txBox="1"/>
          <p:nvPr userDrawn="1"/>
        </p:nvSpPr>
        <p:spPr>
          <a:xfrm>
            <a:off x="793128" y="4305619"/>
            <a:ext cx="865124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kern="900" cap="all" spc="40" baseline="0" dirty="0">
                <a:solidFill>
                  <a:srgbClr val="FFFFFF"/>
                </a:solidFill>
                <a:effectLst/>
                <a:latin typeface="Montserrat Black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  <a:endParaRPr lang="de-DE" sz="2400" kern="900" cap="all" spc="40" baseline="0" dirty="0">
              <a:solidFill>
                <a:srgbClr val="FFFFFF"/>
              </a:solidFill>
              <a:effectLst/>
              <a:latin typeface="Montserrat Black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0BA91C-05C0-373A-E4A7-278808A5B929}"/>
              </a:ext>
            </a:extLst>
          </p:cNvPr>
          <p:cNvSpPr txBox="1"/>
          <p:nvPr userDrawn="1"/>
        </p:nvSpPr>
        <p:spPr>
          <a:xfrm>
            <a:off x="793128" y="4771630"/>
            <a:ext cx="6444716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7917AF-9D52-7267-D25D-9326E705CC00}"/>
              </a:ext>
            </a:extLst>
          </p:cNvPr>
          <p:cNvSpPr txBox="1"/>
          <p:nvPr userDrawn="1"/>
        </p:nvSpPr>
        <p:spPr>
          <a:xfrm>
            <a:off x="793128" y="5771029"/>
            <a:ext cx="644471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800" b="1" u="sng" kern="900" dirty="0">
                <a:solidFill>
                  <a:srgbClr val="FF4414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DACD2C60-F32F-310E-E4FD-3B32B5D40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8" y="509982"/>
            <a:ext cx="7535120" cy="900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Kontakt-Foli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DEE69585-943E-2B3E-3673-6387884C0D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750" y="1557338"/>
            <a:ext cx="7534443" cy="369332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de-DE" sz="2400" b="1" kern="900" cap="all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Kontakt-Person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BBA35E93-401B-9E4F-B4E1-8A0738AEB0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987" y="2103031"/>
            <a:ext cx="7534443" cy="1758017"/>
          </a:xfrm>
          <a:noFill/>
        </p:spPr>
        <p:txBody>
          <a:bodyPr wrap="square" lIns="0" tIns="0" rIns="0" bIns="0">
            <a:noAutofit/>
          </a:bodyPr>
          <a:lstStyle>
            <a:lvl1pPr marL="0" indent="0">
              <a:buFontTx/>
              <a:buNone/>
              <a:defRPr lang="de-DE" sz="2400" b="0" kern="900" cap="none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Funktion und Kontaktda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2C02CC-1C6D-5782-9417-177305188C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21562" y="96988"/>
            <a:ext cx="3635999" cy="277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722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| Grün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67B9777-628C-43D9-A774-20F73607AFF9}"/>
              </a:ext>
            </a:extLst>
          </p:cNvPr>
          <p:cNvGrpSpPr/>
          <p:nvPr userDrawn="1"/>
        </p:nvGrpSpPr>
        <p:grpSpPr>
          <a:xfrm>
            <a:off x="4563" y="2582"/>
            <a:ext cx="12187438" cy="6855418"/>
            <a:chOff x="4563" y="2582"/>
            <a:chExt cx="12187438" cy="685541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09115DD-ECC0-5097-8F9B-571B46FD1CA9}"/>
                </a:ext>
              </a:extLst>
            </p:cNvPr>
            <p:cNvSpPr/>
            <p:nvPr userDrawn="1"/>
          </p:nvSpPr>
          <p:spPr>
            <a:xfrm>
              <a:off x="4563" y="2582"/>
              <a:ext cx="12187437" cy="4101024"/>
            </a:xfrm>
            <a:prstGeom prst="rect">
              <a:avLst/>
            </a:pr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>
                <a:tabLst>
                  <a:tab pos="180340" algn="l"/>
                </a:tabLst>
              </a:pPr>
              <a:endParaRPr lang="de-DE" sz="18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47EB0EF-B5EE-A7CA-902A-54EB9DCDD264}"/>
                </a:ext>
              </a:extLst>
            </p:cNvPr>
            <p:cNvSpPr/>
            <p:nvPr userDrawn="1"/>
          </p:nvSpPr>
          <p:spPr>
            <a:xfrm rot="16200000">
              <a:off x="7339491" y="2005490"/>
              <a:ext cx="3609020" cy="6096000"/>
            </a:xfrm>
            <a:prstGeom prst="rtTriangle">
              <a:avLst/>
            </a:pr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11944" y="5656100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503436D-BFF1-887B-781E-840EACF6C1B9}"/>
              </a:ext>
            </a:extLst>
          </p:cNvPr>
          <p:cNvSpPr txBox="1"/>
          <p:nvPr userDrawn="1"/>
        </p:nvSpPr>
        <p:spPr>
          <a:xfrm>
            <a:off x="793128" y="4281555"/>
            <a:ext cx="865124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kern="900" cap="all" spc="40" baseline="0" dirty="0">
                <a:solidFill>
                  <a:srgbClr val="FFFFFF"/>
                </a:solidFill>
                <a:effectLst/>
                <a:latin typeface="Montserrat Black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  <a:endParaRPr lang="de-DE" sz="2400" kern="900" cap="all" spc="40" baseline="0" dirty="0">
              <a:solidFill>
                <a:srgbClr val="FFFFFF"/>
              </a:solidFill>
              <a:effectLst/>
              <a:latin typeface="Montserrat Black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0BA91C-05C0-373A-E4A7-278808A5B929}"/>
              </a:ext>
            </a:extLst>
          </p:cNvPr>
          <p:cNvSpPr txBox="1"/>
          <p:nvPr userDrawn="1"/>
        </p:nvSpPr>
        <p:spPr>
          <a:xfrm>
            <a:off x="793128" y="4747566"/>
            <a:ext cx="6444716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7917AF-9D52-7267-D25D-9326E705CC00}"/>
              </a:ext>
            </a:extLst>
          </p:cNvPr>
          <p:cNvSpPr txBox="1"/>
          <p:nvPr userDrawn="1"/>
        </p:nvSpPr>
        <p:spPr>
          <a:xfrm>
            <a:off x="793128" y="5746965"/>
            <a:ext cx="644471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800" b="1" u="sng" kern="900" dirty="0">
                <a:solidFill>
                  <a:srgbClr val="10AD00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DACD2C60-F32F-310E-E4FD-3B32B5D40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8" y="509982"/>
            <a:ext cx="7535120" cy="900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Kontakt-Foli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DEE69585-943E-2B3E-3673-6387884C0D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750" y="1557338"/>
            <a:ext cx="7534443" cy="369332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de-DE" sz="2400" b="1" kern="900" cap="all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Kontakt-Person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BBA35E93-401B-9E4F-B4E1-8A0738AEB0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987" y="2103031"/>
            <a:ext cx="7534443" cy="1758017"/>
          </a:xfrm>
          <a:noFill/>
        </p:spPr>
        <p:txBody>
          <a:bodyPr wrap="square" lIns="0" tIns="0" rIns="0" bIns="0">
            <a:noAutofit/>
          </a:bodyPr>
          <a:lstStyle>
            <a:lvl1pPr marL="0" indent="0">
              <a:buFontTx/>
              <a:buNone/>
              <a:defRPr lang="de-DE" sz="2400" b="0" kern="900" cap="none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Funktion und Kontaktda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2C02CC-1C6D-5782-9417-177305188C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21562" y="96988"/>
            <a:ext cx="3635999" cy="277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868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| Pink /Blaugr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67B9777-628C-43D9-A774-20F73607AFF9}"/>
              </a:ext>
            </a:extLst>
          </p:cNvPr>
          <p:cNvGrpSpPr/>
          <p:nvPr userDrawn="1"/>
        </p:nvGrpSpPr>
        <p:grpSpPr>
          <a:xfrm>
            <a:off x="4563" y="0"/>
            <a:ext cx="12187437" cy="6858000"/>
            <a:chOff x="4563" y="2582"/>
            <a:chExt cx="12187437" cy="685800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09115DD-ECC0-5097-8F9B-571B46FD1CA9}"/>
                </a:ext>
              </a:extLst>
            </p:cNvPr>
            <p:cNvSpPr/>
            <p:nvPr userDrawn="1"/>
          </p:nvSpPr>
          <p:spPr>
            <a:xfrm>
              <a:off x="4563" y="2582"/>
              <a:ext cx="12187437" cy="4101024"/>
            </a:xfrm>
            <a:prstGeom prst="rect">
              <a:avLst/>
            </a:pr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>
                <a:tabLst>
                  <a:tab pos="180340" algn="l"/>
                </a:tabLst>
              </a:pPr>
              <a:endParaRPr lang="de-DE" sz="18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47EB0EF-B5EE-A7CA-902A-54EB9DCDD264}"/>
                </a:ext>
              </a:extLst>
            </p:cNvPr>
            <p:cNvSpPr/>
            <p:nvPr userDrawn="1"/>
          </p:nvSpPr>
          <p:spPr>
            <a:xfrm rot="16200000">
              <a:off x="7339490" y="2008072"/>
              <a:ext cx="3609020" cy="6096000"/>
            </a:xfrm>
            <a:prstGeom prst="rtTriangle">
              <a:avLst/>
            </a:pr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11944" y="5656100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503436D-BFF1-887B-781E-840EACF6C1B9}"/>
              </a:ext>
            </a:extLst>
          </p:cNvPr>
          <p:cNvSpPr txBox="1"/>
          <p:nvPr userDrawn="1"/>
        </p:nvSpPr>
        <p:spPr>
          <a:xfrm>
            <a:off x="793128" y="4305619"/>
            <a:ext cx="865124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kern="900" cap="all" spc="40" baseline="0" dirty="0">
                <a:solidFill>
                  <a:srgbClr val="FF3EB5"/>
                </a:solidFill>
                <a:effectLst/>
                <a:latin typeface="Montserrat Black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  <a:endParaRPr lang="de-DE" sz="2400" kern="900" cap="all" spc="40" baseline="0" dirty="0">
              <a:solidFill>
                <a:srgbClr val="FF3EB5"/>
              </a:solidFill>
              <a:effectLst/>
              <a:latin typeface="Montserrat Black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0BA91C-05C0-373A-E4A7-278808A5B929}"/>
              </a:ext>
            </a:extLst>
          </p:cNvPr>
          <p:cNvSpPr txBox="1"/>
          <p:nvPr userDrawn="1"/>
        </p:nvSpPr>
        <p:spPr>
          <a:xfrm>
            <a:off x="793128" y="4771630"/>
            <a:ext cx="6444716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7917AF-9D52-7267-D25D-9326E705CC00}"/>
              </a:ext>
            </a:extLst>
          </p:cNvPr>
          <p:cNvSpPr txBox="1"/>
          <p:nvPr userDrawn="1"/>
        </p:nvSpPr>
        <p:spPr>
          <a:xfrm>
            <a:off x="793128" y="5771029"/>
            <a:ext cx="644471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800" b="1" u="sng" kern="900" dirty="0">
                <a:solidFill>
                  <a:srgbClr val="FF3EB5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DACD2C60-F32F-310E-E4FD-3B32B5D40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8" y="509982"/>
            <a:ext cx="7535120" cy="900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Kontakt-Foli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DEE69585-943E-2B3E-3673-6387884C0D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750" y="1557338"/>
            <a:ext cx="7534443" cy="369332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de-DE" sz="2400" b="1" kern="900" cap="all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Kontakt-Person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BBA35E93-401B-9E4F-B4E1-8A0738AEB0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987" y="2103031"/>
            <a:ext cx="7534443" cy="1758017"/>
          </a:xfrm>
          <a:noFill/>
        </p:spPr>
        <p:txBody>
          <a:bodyPr wrap="square" lIns="0" tIns="0" rIns="0" bIns="0">
            <a:noAutofit/>
          </a:bodyPr>
          <a:lstStyle>
            <a:lvl1pPr marL="0" indent="0">
              <a:buFontTx/>
              <a:buNone/>
              <a:defRPr lang="de-DE" sz="2400" b="0" kern="900" cap="none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Funktion und Kontaktda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2C02CC-1C6D-5782-9417-177305188C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21562" y="96988"/>
            <a:ext cx="3636000" cy="277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660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| Türkis /Blaugr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67B9777-628C-43D9-A774-20F73607AFF9}"/>
              </a:ext>
            </a:extLst>
          </p:cNvPr>
          <p:cNvGrpSpPr/>
          <p:nvPr userDrawn="1"/>
        </p:nvGrpSpPr>
        <p:grpSpPr>
          <a:xfrm>
            <a:off x="4563" y="0"/>
            <a:ext cx="12187437" cy="6858000"/>
            <a:chOff x="4563" y="2582"/>
            <a:chExt cx="12187437" cy="6858000"/>
          </a:xfrm>
          <a:solidFill>
            <a:srgbClr val="10065A"/>
          </a:solidFill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09115DD-ECC0-5097-8F9B-571B46FD1CA9}"/>
                </a:ext>
              </a:extLst>
            </p:cNvPr>
            <p:cNvSpPr/>
            <p:nvPr userDrawn="1"/>
          </p:nvSpPr>
          <p:spPr>
            <a:xfrm>
              <a:off x="4563" y="2582"/>
              <a:ext cx="12187437" cy="410102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>
                <a:tabLst>
                  <a:tab pos="180340" algn="l"/>
                </a:tabLst>
              </a:pPr>
              <a:endParaRPr lang="de-DE" sz="18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47EB0EF-B5EE-A7CA-902A-54EB9DCDD264}"/>
                </a:ext>
              </a:extLst>
            </p:cNvPr>
            <p:cNvSpPr/>
            <p:nvPr userDrawn="1"/>
          </p:nvSpPr>
          <p:spPr>
            <a:xfrm rot="16200000">
              <a:off x="7339490" y="2008072"/>
              <a:ext cx="3609020" cy="6096000"/>
            </a:xfrm>
            <a:prstGeom prst="rtTriangle">
              <a:avLst/>
            </a:pr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11944" y="5656100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503436D-BFF1-887B-781E-840EACF6C1B9}"/>
              </a:ext>
            </a:extLst>
          </p:cNvPr>
          <p:cNvSpPr txBox="1"/>
          <p:nvPr userDrawn="1"/>
        </p:nvSpPr>
        <p:spPr>
          <a:xfrm>
            <a:off x="793128" y="4305619"/>
            <a:ext cx="865124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kern="900" cap="all" spc="40" baseline="0" dirty="0">
                <a:solidFill>
                  <a:srgbClr val="10ADAA"/>
                </a:solidFill>
                <a:effectLst/>
                <a:latin typeface="Montserrat Black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  <a:endParaRPr lang="de-DE" sz="2400" kern="900" cap="all" spc="40" baseline="0" dirty="0">
              <a:solidFill>
                <a:srgbClr val="10ADAA"/>
              </a:solidFill>
              <a:effectLst/>
              <a:latin typeface="Montserrat Black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0BA91C-05C0-373A-E4A7-278808A5B929}"/>
              </a:ext>
            </a:extLst>
          </p:cNvPr>
          <p:cNvSpPr txBox="1"/>
          <p:nvPr userDrawn="1"/>
        </p:nvSpPr>
        <p:spPr>
          <a:xfrm>
            <a:off x="793128" y="4771630"/>
            <a:ext cx="6444716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7917AF-9D52-7267-D25D-9326E705CC00}"/>
              </a:ext>
            </a:extLst>
          </p:cNvPr>
          <p:cNvSpPr txBox="1"/>
          <p:nvPr userDrawn="1"/>
        </p:nvSpPr>
        <p:spPr>
          <a:xfrm>
            <a:off x="793128" y="5771029"/>
            <a:ext cx="644471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800" b="1" u="sng" kern="900" dirty="0">
                <a:solidFill>
                  <a:srgbClr val="10ADAA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DACD2C60-F32F-310E-E4FD-3B32B5D40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8" y="509982"/>
            <a:ext cx="7535120" cy="900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Kontakt-Foli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DEE69585-943E-2B3E-3673-6387884C0D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750" y="1557338"/>
            <a:ext cx="7534443" cy="369332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de-DE" sz="2400" b="1" kern="900" cap="all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Kontakt-Person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BBA35E93-401B-9E4F-B4E1-8A0738AEB0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987" y="2103031"/>
            <a:ext cx="7534443" cy="1758017"/>
          </a:xfrm>
          <a:noFill/>
        </p:spPr>
        <p:txBody>
          <a:bodyPr wrap="square" lIns="0" tIns="0" rIns="0" bIns="0">
            <a:noAutofit/>
          </a:bodyPr>
          <a:lstStyle>
            <a:lvl1pPr marL="0" indent="0">
              <a:buFontTx/>
              <a:buNone/>
              <a:defRPr lang="de-DE" sz="2400" b="0" kern="900" cap="none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Funktion und Kontaktda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2C02CC-1C6D-5782-9417-177305188C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21562" y="96988"/>
            <a:ext cx="3635999" cy="277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467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| Violett /Blaugr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67B9777-628C-43D9-A774-20F73607AFF9}"/>
              </a:ext>
            </a:extLst>
          </p:cNvPr>
          <p:cNvGrpSpPr/>
          <p:nvPr userDrawn="1"/>
        </p:nvGrpSpPr>
        <p:grpSpPr>
          <a:xfrm>
            <a:off x="4563" y="0"/>
            <a:ext cx="12187437" cy="6858000"/>
            <a:chOff x="4563" y="2582"/>
            <a:chExt cx="12187437" cy="6858000"/>
          </a:xfrm>
          <a:solidFill>
            <a:srgbClr val="10065A"/>
          </a:solidFill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09115DD-ECC0-5097-8F9B-571B46FD1CA9}"/>
                </a:ext>
              </a:extLst>
            </p:cNvPr>
            <p:cNvSpPr/>
            <p:nvPr userDrawn="1"/>
          </p:nvSpPr>
          <p:spPr>
            <a:xfrm>
              <a:off x="4563" y="2582"/>
              <a:ext cx="12187437" cy="410102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>
                <a:tabLst>
                  <a:tab pos="180340" algn="l"/>
                </a:tabLst>
              </a:pPr>
              <a:endParaRPr lang="de-DE" sz="18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47EB0EF-B5EE-A7CA-902A-54EB9DCDD264}"/>
                </a:ext>
              </a:extLst>
            </p:cNvPr>
            <p:cNvSpPr/>
            <p:nvPr userDrawn="1"/>
          </p:nvSpPr>
          <p:spPr>
            <a:xfrm rot="16200000">
              <a:off x="7339490" y="2008072"/>
              <a:ext cx="3609020" cy="6096000"/>
            </a:xfrm>
            <a:prstGeom prst="rtTriangle">
              <a:avLst/>
            </a:pr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11944" y="5656100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503436D-BFF1-887B-781E-840EACF6C1B9}"/>
              </a:ext>
            </a:extLst>
          </p:cNvPr>
          <p:cNvSpPr txBox="1"/>
          <p:nvPr userDrawn="1"/>
        </p:nvSpPr>
        <p:spPr>
          <a:xfrm>
            <a:off x="793128" y="4305619"/>
            <a:ext cx="865124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kern="900" cap="all" spc="40" baseline="0" dirty="0">
                <a:solidFill>
                  <a:srgbClr val="8C3E9F"/>
                </a:solidFill>
                <a:effectLst/>
                <a:latin typeface="Montserrat Black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  <a:endParaRPr lang="de-DE" sz="2400" kern="900" cap="all" spc="40" baseline="0" dirty="0">
              <a:solidFill>
                <a:srgbClr val="8C3E9F"/>
              </a:solidFill>
              <a:effectLst/>
              <a:latin typeface="Montserrat Black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0BA91C-05C0-373A-E4A7-278808A5B929}"/>
              </a:ext>
            </a:extLst>
          </p:cNvPr>
          <p:cNvSpPr txBox="1"/>
          <p:nvPr userDrawn="1"/>
        </p:nvSpPr>
        <p:spPr>
          <a:xfrm>
            <a:off x="793128" y="4771630"/>
            <a:ext cx="6444716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7917AF-9D52-7267-D25D-9326E705CC00}"/>
              </a:ext>
            </a:extLst>
          </p:cNvPr>
          <p:cNvSpPr txBox="1"/>
          <p:nvPr userDrawn="1"/>
        </p:nvSpPr>
        <p:spPr>
          <a:xfrm>
            <a:off x="793128" y="5771029"/>
            <a:ext cx="644471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800" b="1" u="sng" kern="900" dirty="0">
                <a:solidFill>
                  <a:srgbClr val="8C3E9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DACD2C60-F32F-310E-E4FD-3B32B5D40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8" y="509982"/>
            <a:ext cx="7535120" cy="900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Kontakt-Foli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DEE69585-943E-2B3E-3673-6387884C0D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750" y="1557338"/>
            <a:ext cx="7534443" cy="369332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de-DE" sz="2400" b="1" kern="900" cap="all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Kontakt-Person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BBA35E93-401B-9E4F-B4E1-8A0738AEB0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987" y="2103031"/>
            <a:ext cx="7534443" cy="1758017"/>
          </a:xfrm>
          <a:noFill/>
        </p:spPr>
        <p:txBody>
          <a:bodyPr wrap="square" lIns="0" tIns="0" rIns="0" bIns="0">
            <a:noAutofit/>
          </a:bodyPr>
          <a:lstStyle>
            <a:lvl1pPr marL="0" indent="0">
              <a:buFontTx/>
              <a:buNone/>
              <a:defRPr lang="de-DE" sz="2400" b="0" kern="900" cap="none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Funktion und Kontaktda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2C02CC-1C6D-5782-9417-177305188C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21562" y="96988"/>
            <a:ext cx="3635999" cy="277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239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| Orange /Blaugr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67B9777-628C-43D9-A774-20F73607AFF9}"/>
              </a:ext>
            </a:extLst>
          </p:cNvPr>
          <p:cNvGrpSpPr/>
          <p:nvPr userDrawn="1"/>
        </p:nvGrpSpPr>
        <p:grpSpPr>
          <a:xfrm>
            <a:off x="4563" y="0"/>
            <a:ext cx="12187437" cy="6858000"/>
            <a:chOff x="4563" y="2582"/>
            <a:chExt cx="12187437" cy="6858000"/>
          </a:xfrm>
          <a:solidFill>
            <a:srgbClr val="10065A"/>
          </a:solidFill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09115DD-ECC0-5097-8F9B-571B46FD1CA9}"/>
                </a:ext>
              </a:extLst>
            </p:cNvPr>
            <p:cNvSpPr/>
            <p:nvPr userDrawn="1"/>
          </p:nvSpPr>
          <p:spPr>
            <a:xfrm>
              <a:off x="4563" y="2582"/>
              <a:ext cx="12187437" cy="410102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>
                <a:tabLst>
                  <a:tab pos="180340" algn="l"/>
                </a:tabLst>
              </a:pPr>
              <a:endParaRPr lang="de-DE" sz="18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47EB0EF-B5EE-A7CA-902A-54EB9DCDD264}"/>
                </a:ext>
              </a:extLst>
            </p:cNvPr>
            <p:cNvSpPr/>
            <p:nvPr userDrawn="1"/>
          </p:nvSpPr>
          <p:spPr>
            <a:xfrm rot="16200000">
              <a:off x="7339490" y="2008072"/>
              <a:ext cx="3609020" cy="6096000"/>
            </a:xfrm>
            <a:prstGeom prst="rtTriangle">
              <a:avLst/>
            </a:pr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11944" y="5656100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503436D-BFF1-887B-781E-840EACF6C1B9}"/>
              </a:ext>
            </a:extLst>
          </p:cNvPr>
          <p:cNvSpPr txBox="1"/>
          <p:nvPr userDrawn="1"/>
        </p:nvSpPr>
        <p:spPr>
          <a:xfrm>
            <a:off x="793128" y="4305619"/>
            <a:ext cx="865124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kern="900" cap="all" spc="40" baseline="0" dirty="0">
                <a:solidFill>
                  <a:srgbClr val="FF4414"/>
                </a:solidFill>
                <a:effectLst/>
                <a:latin typeface="Montserrat Black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  <a:endParaRPr lang="de-DE" sz="2400" kern="900" cap="all" spc="40" baseline="0" dirty="0">
              <a:solidFill>
                <a:srgbClr val="FF4414"/>
              </a:solidFill>
              <a:effectLst/>
              <a:latin typeface="Montserrat Black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0BA91C-05C0-373A-E4A7-278808A5B929}"/>
              </a:ext>
            </a:extLst>
          </p:cNvPr>
          <p:cNvSpPr txBox="1"/>
          <p:nvPr userDrawn="1"/>
        </p:nvSpPr>
        <p:spPr>
          <a:xfrm>
            <a:off x="793128" y="4771630"/>
            <a:ext cx="6444716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7917AF-9D52-7267-D25D-9326E705CC00}"/>
              </a:ext>
            </a:extLst>
          </p:cNvPr>
          <p:cNvSpPr txBox="1"/>
          <p:nvPr userDrawn="1"/>
        </p:nvSpPr>
        <p:spPr>
          <a:xfrm>
            <a:off x="793128" y="5771029"/>
            <a:ext cx="644471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800" b="1" u="sng" kern="900" dirty="0">
                <a:solidFill>
                  <a:srgbClr val="FF4414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DACD2C60-F32F-310E-E4FD-3B32B5D40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8" y="509982"/>
            <a:ext cx="7535120" cy="900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Kontakt-Foli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DEE69585-943E-2B3E-3673-6387884C0D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750" y="1557338"/>
            <a:ext cx="7534443" cy="369332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de-DE" sz="2400" b="1" kern="900" cap="all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Kontakt-Person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BBA35E93-401B-9E4F-B4E1-8A0738AEB0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987" y="2103031"/>
            <a:ext cx="7534443" cy="1758017"/>
          </a:xfrm>
          <a:noFill/>
        </p:spPr>
        <p:txBody>
          <a:bodyPr wrap="square" lIns="0" tIns="0" rIns="0" bIns="0">
            <a:noAutofit/>
          </a:bodyPr>
          <a:lstStyle>
            <a:lvl1pPr marL="0" indent="0">
              <a:buFontTx/>
              <a:buNone/>
              <a:defRPr lang="de-DE" sz="2400" b="0" kern="900" cap="none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Funktion und Kontaktda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2C02CC-1C6D-5782-9417-177305188C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21563" y="96988"/>
            <a:ext cx="3635997" cy="277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98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Grün/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328" y="5781691"/>
            <a:ext cx="2735342" cy="1076179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10A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12102" y="4799592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58588968-0F6F-489E-9F08-A40886D6EFF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0469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| Grün /Blaugr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67B9777-628C-43D9-A774-20F73607AFF9}"/>
              </a:ext>
            </a:extLst>
          </p:cNvPr>
          <p:cNvGrpSpPr/>
          <p:nvPr userDrawn="1"/>
        </p:nvGrpSpPr>
        <p:grpSpPr>
          <a:xfrm>
            <a:off x="4563" y="0"/>
            <a:ext cx="12187437" cy="6858000"/>
            <a:chOff x="4563" y="2582"/>
            <a:chExt cx="12187437" cy="6858000"/>
          </a:xfrm>
          <a:solidFill>
            <a:srgbClr val="10065A"/>
          </a:solidFill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09115DD-ECC0-5097-8F9B-571B46FD1CA9}"/>
                </a:ext>
              </a:extLst>
            </p:cNvPr>
            <p:cNvSpPr/>
            <p:nvPr userDrawn="1"/>
          </p:nvSpPr>
          <p:spPr>
            <a:xfrm>
              <a:off x="4563" y="2582"/>
              <a:ext cx="12187437" cy="410102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>
                <a:tabLst>
                  <a:tab pos="180340" algn="l"/>
                </a:tabLst>
              </a:pPr>
              <a:endParaRPr lang="de-DE" sz="1800" kern="900" dirty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47EB0EF-B5EE-A7CA-902A-54EB9DCDD264}"/>
                </a:ext>
              </a:extLst>
            </p:cNvPr>
            <p:cNvSpPr/>
            <p:nvPr userDrawn="1"/>
          </p:nvSpPr>
          <p:spPr>
            <a:xfrm rot="16200000">
              <a:off x="7339490" y="2008072"/>
              <a:ext cx="3609020" cy="6096000"/>
            </a:xfrm>
            <a:prstGeom prst="rtTriangle">
              <a:avLst/>
            </a:pr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11944" y="5656100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503436D-BFF1-887B-781E-840EACF6C1B9}"/>
              </a:ext>
            </a:extLst>
          </p:cNvPr>
          <p:cNvSpPr txBox="1"/>
          <p:nvPr userDrawn="1"/>
        </p:nvSpPr>
        <p:spPr>
          <a:xfrm>
            <a:off x="793128" y="4305619"/>
            <a:ext cx="865124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kern="900" cap="all" spc="40" baseline="0" dirty="0">
                <a:solidFill>
                  <a:srgbClr val="10AD00"/>
                </a:solidFill>
                <a:effectLst/>
                <a:latin typeface="Montserrat Black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  <a:endParaRPr lang="de-DE" sz="2400" kern="900" cap="all" spc="40" baseline="0" dirty="0">
              <a:solidFill>
                <a:srgbClr val="10AD00"/>
              </a:solidFill>
              <a:effectLst/>
              <a:latin typeface="Montserrat Black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0BA91C-05C0-373A-E4A7-278808A5B929}"/>
              </a:ext>
            </a:extLst>
          </p:cNvPr>
          <p:cNvSpPr txBox="1"/>
          <p:nvPr userDrawn="1"/>
        </p:nvSpPr>
        <p:spPr>
          <a:xfrm>
            <a:off x="793128" y="4771630"/>
            <a:ext cx="6444716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400" kern="9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7917AF-9D52-7267-D25D-9326E705CC00}"/>
              </a:ext>
            </a:extLst>
          </p:cNvPr>
          <p:cNvSpPr txBox="1"/>
          <p:nvPr userDrawn="1"/>
        </p:nvSpPr>
        <p:spPr>
          <a:xfrm>
            <a:off x="793128" y="5771029"/>
            <a:ext cx="644471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800" b="1" u="sng" kern="900" dirty="0">
                <a:solidFill>
                  <a:srgbClr val="10AD00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DACD2C60-F32F-310E-E4FD-3B32B5D40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8" y="509982"/>
            <a:ext cx="7535120" cy="900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der Kontakt-Foli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DEE69585-943E-2B3E-3673-6387884C0D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750" y="1557338"/>
            <a:ext cx="7534443" cy="369332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de-DE" sz="2400" b="1" kern="900" cap="all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Kontakt-Person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BBA35E93-401B-9E4F-B4E1-8A0738AEB0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987" y="2103031"/>
            <a:ext cx="7534443" cy="1758017"/>
          </a:xfrm>
          <a:noFill/>
        </p:spPr>
        <p:txBody>
          <a:bodyPr wrap="square" lIns="0" tIns="0" rIns="0" bIns="0">
            <a:noAutofit/>
          </a:bodyPr>
          <a:lstStyle>
            <a:lvl1pPr marL="0" indent="0">
              <a:buFontTx/>
              <a:buNone/>
              <a:defRPr lang="de-DE" sz="2400" b="0" kern="900" cap="none" baseline="0" dirty="0" smtClean="0">
                <a:solidFill>
                  <a:srgbClr val="FFFFFF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defRPr>
            </a:lvl1pPr>
            <a:lvl2pPr marL="25400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2pPr>
            <a:lvl3pPr marL="473075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3pPr>
            <a:lvl4pPr marL="919162" indent="0">
              <a:buFontTx/>
              <a:buNone/>
              <a:defRPr lang="de-DE" sz="1800" dirty="0" smtClean="0">
                <a:solidFill>
                  <a:schemeClr val="tx1"/>
                </a:solidFill>
                <a:latin typeface="+mn-lt"/>
              </a:defRPr>
            </a:lvl4pPr>
            <a:lvl5pPr marL="1382712" indent="0">
              <a:buFontTx/>
              <a:buNone/>
              <a:defRPr lang="de-DE" sz="1800" dirty="0">
                <a:latin typeface="+mn-lt"/>
              </a:defRPr>
            </a:lvl5pPr>
          </a:lstStyle>
          <a:p>
            <a:pPr marL="0" lvl="0"/>
            <a:r>
              <a:rPr lang="de-DE" dirty="0"/>
              <a:t>Funktion und Kontaktda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2C02CC-1C6D-5782-9417-177305188C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21563" y="96988"/>
            <a:ext cx="3635997" cy="277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962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CI-Daten |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0138" y="5340054"/>
            <a:ext cx="3833986" cy="150842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8D3C0DA-A817-A754-0A4F-2EFE562946C4}"/>
              </a:ext>
            </a:extLst>
          </p:cNvPr>
          <p:cNvSpPr txBox="1"/>
          <p:nvPr userDrawn="1"/>
        </p:nvSpPr>
        <p:spPr>
          <a:xfrm>
            <a:off x="5340644" y="4077072"/>
            <a:ext cx="65520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u="sng" kern="900" dirty="0">
                <a:solidFill>
                  <a:srgbClr val="FF3EB5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51BD952C-9325-6D29-107A-1D50FB69F750}"/>
              </a:ext>
            </a:extLst>
          </p:cNvPr>
          <p:cNvSpPr/>
          <p:nvPr userDrawn="1"/>
        </p:nvSpPr>
        <p:spPr>
          <a:xfrm>
            <a:off x="5340644" y="3604171"/>
            <a:ext cx="655200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53369EF-0E54-A6CC-C74F-5C8D586FEF0B}"/>
              </a:ext>
            </a:extLst>
          </p:cNvPr>
          <p:cNvSpPr txBox="1"/>
          <p:nvPr userDrawn="1"/>
        </p:nvSpPr>
        <p:spPr>
          <a:xfrm>
            <a:off x="5340644" y="1487201"/>
            <a:ext cx="65520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000" b="1" kern="900" cap="all" spc="50" baseline="0" dirty="0">
                <a:solidFill>
                  <a:srgbClr val="FF3EB5"/>
                </a:solidFill>
                <a:effectLst/>
                <a:latin typeface="Montserrat Black" panose="00000A00000000000000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DEB2C2-673B-FE58-20E7-9740781B8452}"/>
              </a:ext>
            </a:extLst>
          </p:cNvPr>
          <p:cNvSpPr txBox="1"/>
          <p:nvPr userDrawn="1"/>
        </p:nvSpPr>
        <p:spPr>
          <a:xfrm>
            <a:off x="5340644" y="2060853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289D15B-B4F7-0106-41A7-F445E62BE8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1" t="10655" r="33753" b="308"/>
          <a:stretch/>
        </p:blipFill>
        <p:spPr>
          <a:xfrm>
            <a:off x="0" y="-9525"/>
            <a:ext cx="4907868" cy="6867525"/>
          </a:xfrm>
          <a:custGeom>
            <a:avLst/>
            <a:gdLst>
              <a:gd name="connsiteX0" fmla="*/ 0 w 4907868"/>
              <a:gd name="connsiteY0" fmla="*/ 0 h 6858001"/>
              <a:gd name="connsiteX1" fmla="*/ 4907868 w 4907868"/>
              <a:gd name="connsiteY1" fmla="*/ 0 h 6858001"/>
              <a:gd name="connsiteX2" fmla="*/ 4907868 w 4907868"/>
              <a:gd name="connsiteY2" fmla="*/ 5999571 h 6858001"/>
              <a:gd name="connsiteX3" fmla="*/ 3412293 w 4907868"/>
              <a:gd name="connsiteY3" fmla="*/ 6858001 h 6858001"/>
              <a:gd name="connsiteX4" fmla="*/ 0 w 490786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07868" h="6858001">
                <a:moveTo>
                  <a:pt x="0" y="0"/>
                </a:moveTo>
                <a:lnTo>
                  <a:pt x="4907868" y="0"/>
                </a:lnTo>
                <a:lnTo>
                  <a:pt x="4907868" y="5999571"/>
                </a:lnTo>
                <a:lnTo>
                  <a:pt x="3412293" y="6858001"/>
                </a:lnTo>
                <a:lnTo>
                  <a:pt x="0" y="6858001"/>
                </a:lnTo>
                <a:close/>
              </a:path>
            </a:pathLst>
          </a:cu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AFF9371D-D89F-15C0-439D-0339F0B1CBA5}"/>
              </a:ext>
            </a:extLst>
          </p:cNvPr>
          <p:cNvSpPr txBox="1"/>
          <p:nvPr userDrawn="1"/>
        </p:nvSpPr>
        <p:spPr>
          <a:xfrm>
            <a:off x="5340644" y="3020948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tabLst>
                <a:tab pos="180340" algn="l"/>
              </a:tabLst>
              <a:defRPr sz="2400" kern="90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T</a:t>
            </a:r>
            <a:r>
              <a:rPr lang="de-DE" sz="2000" dirty="0">
                <a:solidFill>
                  <a:srgbClr val="FFFFFF"/>
                </a:solidFill>
              </a:rPr>
              <a:t>	+49 (69) 2556-0</a:t>
            </a:r>
          </a:p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E</a:t>
            </a:r>
            <a:r>
              <a:rPr lang="de-DE" sz="2000" dirty="0">
                <a:solidFill>
                  <a:srgbClr val="FFFFFF"/>
                </a:solidFill>
              </a:rPr>
              <a:t>	vci@vci.d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E35BE14-FFDD-A78B-CFA3-5D83394FD4D3}"/>
              </a:ext>
            </a:extLst>
          </p:cNvPr>
          <p:cNvSpPr txBox="1"/>
          <p:nvPr userDrawn="1"/>
        </p:nvSpPr>
        <p:spPr>
          <a:xfrm>
            <a:off x="35124" y="6681888"/>
            <a:ext cx="3600000" cy="153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FontTx/>
              <a:buNone/>
              <a:defRPr sz="10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719138" indent="-431800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2pPr>
            <a:lvl3pPr marL="1160463" indent="-441325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3pPr>
            <a:lvl4pPr marL="1612900" indent="-452438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Clr>
                <a:srgbClr val="10065A"/>
              </a:buClr>
              <a:buFontTx/>
              <a:buNone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de-DE" dirty="0"/>
              <a:t> © VCI </a:t>
            </a:r>
          </a:p>
        </p:txBody>
      </p:sp>
    </p:spTree>
    <p:extLst>
      <p:ext uri="{BB962C8B-B14F-4D97-AF65-F5344CB8AC3E}">
        <p14:creationId xmlns:p14="http://schemas.microsoft.com/office/powerpoint/2010/main" val="2805729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CI-Daten |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0138" y="5340054"/>
            <a:ext cx="3833986" cy="150842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8D3C0DA-A817-A754-0A4F-2EFE562946C4}"/>
              </a:ext>
            </a:extLst>
          </p:cNvPr>
          <p:cNvSpPr txBox="1"/>
          <p:nvPr userDrawn="1"/>
        </p:nvSpPr>
        <p:spPr>
          <a:xfrm>
            <a:off x="5340644" y="4077072"/>
            <a:ext cx="65520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u="sng" kern="900" dirty="0">
                <a:solidFill>
                  <a:srgbClr val="FF3EB5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51BD952C-9325-6D29-107A-1D50FB69F750}"/>
              </a:ext>
            </a:extLst>
          </p:cNvPr>
          <p:cNvSpPr/>
          <p:nvPr userDrawn="1"/>
        </p:nvSpPr>
        <p:spPr>
          <a:xfrm>
            <a:off x="5340644" y="3604171"/>
            <a:ext cx="655200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53369EF-0E54-A6CC-C74F-5C8D586FEF0B}"/>
              </a:ext>
            </a:extLst>
          </p:cNvPr>
          <p:cNvSpPr txBox="1"/>
          <p:nvPr userDrawn="1"/>
        </p:nvSpPr>
        <p:spPr>
          <a:xfrm>
            <a:off x="5340644" y="1487201"/>
            <a:ext cx="65520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000" b="1" kern="900" cap="all" spc="50" baseline="0" dirty="0">
                <a:solidFill>
                  <a:srgbClr val="FF3EB5"/>
                </a:solidFill>
                <a:effectLst/>
                <a:latin typeface="Montserrat Black" panose="00000A00000000000000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DEB2C2-673B-FE58-20E7-9740781B8452}"/>
              </a:ext>
            </a:extLst>
          </p:cNvPr>
          <p:cNvSpPr txBox="1"/>
          <p:nvPr userDrawn="1"/>
        </p:nvSpPr>
        <p:spPr>
          <a:xfrm>
            <a:off x="5340644" y="2060853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289D15B-B4F7-0106-41A7-F445E62BE8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1" t="10655" r="33753" b="308"/>
          <a:stretch/>
        </p:blipFill>
        <p:spPr>
          <a:xfrm>
            <a:off x="0" y="-9525"/>
            <a:ext cx="4907868" cy="6867525"/>
          </a:xfrm>
          <a:custGeom>
            <a:avLst/>
            <a:gdLst>
              <a:gd name="connsiteX0" fmla="*/ 0 w 4907868"/>
              <a:gd name="connsiteY0" fmla="*/ 0 h 6858001"/>
              <a:gd name="connsiteX1" fmla="*/ 4907868 w 4907868"/>
              <a:gd name="connsiteY1" fmla="*/ 0 h 6858001"/>
              <a:gd name="connsiteX2" fmla="*/ 4907868 w 4907868"/>
              <a:gd name="connsiteY2" fmla="*/ 5999571 h 6858001"/>
              <a:gd name="connsiteX3" fmla="*/ 3412293 w 4907868"/>
              <a:gd name="connsiteY3" fmla="*/ 6858001 h 6858001"/>
              <a:gd name="connsiteX4" fmla="*/ 0 w 490786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07868" h="6858001">
                <a:moveTo>
                  <a:pt x="0" y="0"/>
                </a:moveTo>
                <a:lnTo>
                  <a:pt x="4907868" y="0"/>
                </a:lnTo>
                <a:lnTo>
                  <a:pt x="4907868" y="5999571"/>
                </a:lnTo>
                <a:lnTo>
                  <a:pt x="3412293" y="6858001"/>
                </a:lnTo>
                <a:lnTo>
                  <a:pt x="0" y="6858001"/>
                </a:lnTo>
                <a:close/>
              </a:path>
            </a:pathLst>
          </a:cu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AFF9371D-D89F-15C0-439D-0339F0B1CBA5}"/>
              </a:ext>
            </a:extLst>
          </p:cNvPr>
          <p:cNvSpPr txBox="1"/>
          <p:nvPr userDrawn="1"/>
        </p:nvSpPr>
        <p:spPr>
          <a:xfrm>
            <a:off x="5340644" y="3020948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tabLst>
                <a:tab pos="180340" algn="l"/>
              </a:tabLst>
              <a:defRPr sz="2400" kern="90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T</a:t>
            </a:r>
            <a:r>
              <a:rPr lang="de-DE" sz="2000" dirty="0">
                <a:solidFill>
                  <a:srgbClr val="FFFFFF"/>
                </a:solidFill>
              </a:rPr>
              <a:t>	+49 (69) 2556-0</a:t>
            </a:r>
          </a:p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E</a:t>
            </a:r>
            <a:r>
              <a:rPr lang="de-DE" sz="2000" dirty="0">
                <a:solidFill>
                  <a:srgbClr val="FFFFFF"/>
                </a:solidFill>
              </a:rPr>
              <a:t>	vci@vci.d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E35BE14-FFDD-A78B-CFA3-5D83394FD4D3}"/>
              </a:ext>
            </a:extLst>
          </p:cNvPr>
          <p:cNvSpPr txBox="1"/>
          <p:nvPr userDrawn="1"/>
        </p:nvSpPr>
        <p:spPr>
          <a:xfrm>
            <a:off x="35124" y="6681888"/>
            <a:ext cx="3600000" cy="153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FontTx/>
              <a:buNone/>
              <a:defRPr sz="10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719138" indent="-431800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2pPr>
            <a:lvl3pPr marL="1160463" indent="-441325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3pPr>
            <a:lvl4pPr marL="1612900" indent="-452438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Clr>
                <a:srgbClr val="10065A"/>
              </a:buClr>
              <a:buFontTx/>
              <a:buNone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de-DE" dirty="0"/>
              <a:t> © VCI </a:t>
            </a:r>
          </a:p>
        </p:txBody>
      </p:sp>
    </p:spTree>
    <p:extLst>
      <p:ext uri="{BB962C8B-B14F-4D97-AF65-F5344CB8AC3E}">
        <p14:creationId xmlns:p14="http://schemas.microsoft.com/office/powerpoint/2010/main" val="254409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CI-Daten | Pink">
    <p:bg>
      <p:bgPr>
        <a:solidFill>
          <a:srgbClr val="FF3E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0140" y="5340054"/>
            <a:ext cx="3833982" cy="150842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8D3C0DA-A817-A754-0A4F-2EFE562946C4}"/>
              </a:ext>
            </a:extLst>
          </p:cNvPr>
          <p:cNvSpPr txBox="1"/>
          <p:nvPr userDrawn="1"/>
        </p:nvSpPr>
        <p:spPr>
          <a:xfrm>
            <a:off x="5340644" y="4077072"/>
            <a:ext cx="65520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u="sng" kern="900" dirty="0">
                <a:solidFill>
                  <a:srgbClr val="10069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51BD952C-9325-6D29-107A-1D50FB69F750}"/>
              </a:ext>
            </a:extLst>
          </p:cNvPr>
          <p:cNvSpPr/>
          <p:nvPr userDrawn="1"/>
        </p:nvSpPr>
        <p:spPr>
          <a:xfrm>
            <a:off x="5340644" y="3604171"/>
            <a:ext cx="655200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53369EF-0E54-A6CC-C74F-5C8D586FEF0B}"/>
              </a:ext>
            </a:extLst>
          </p:cNvPr>
          <p:cNvSpPr txBox="1"/>
          <p:nvPr userDrawn="1"/>
        </p:nvSpPr>
        <p:spPr>
          <a:xfrm>
            <a:off x="5340644" y="1487201"/>
            <a:ext cx="65520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000" b="1" kern="900" cap="all" spc="50" baseline="0" dirty="0">
                <a:solidFill>
                  <a:srgbClr val="10069F"/>
                </a:solidFill>
                <a:effectLst/>
                <a:latin typeface="Montserrat Black" panose="00000A00000000000000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DEB2C2-673B-FE58-20E7-9740781B8452}"/>
              </a:ext>
            </a:extLst>
          </p:cNvPr>
          <p:cNvSpPr txBox="1"/>
          <p:nvPr userDrawn="1"/>
        </p:nvSpPr>
        <p:spPr>
          <a:xfrm>
            <a:off x="5340644" y="2060853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289D15B-B4F7-0106-41A7-F445E62BE8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1" t="10655" r="33753" b="308"/>
          <a:stretch/>
        </p:blipFill>
        <p:spPr>
          <a:xfrm>
            <a:off x="0" y="-9525"/>
            <a:ext cx="4907868" cy="6867525"/>
          </a:xfrm>
          <a:custGeom>
            <a:avLst/>
            <a:gdLst>
              <a:gd name="connsiteX0" fmla="*/ 0 w 4907868"/>
              <a:gd name="connsiteY0" fmla="*/ 0 h 6858001"/>
              <a:gd name="connsiteX1" fmla="*/ 4907868 w 4907868"/>
              <a:gd name="connsiteY1" fmla="*/ 0 h 6858001"/>
              <a:gd name="connsiteX2" fmla="*/ 4907868 w 4907868"/>
              <a:gd name="connsiteY2" fmla="*/ 5999571 h 6858001"/>
              <a:gd name="connsiteX3" fmla="*/ 3412293 w 4907868"/>
              <a:gd name="connsiteY3" fmla="*/ 6858001 h 6858001"/>
              <a:gd name="connsiteX4" fmla="*/ 0 w 490786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07868" h="6858001">
                <a:moveTo>
                  <a:pt x="0" y="0"/>
                </a:moveTo>
                <a:lnTo>
                  <a:pt x="4907868" y="0"/>
                </a:lnTo>
                <a:lnTo>
                  <a:pt x="4907868" y="5999571"/>
                </a:lnTo>
                <a:lnTo>
                  <a:pt x="3412293" y="6858001"/>
                </a:lnTo>
                <a:lnTo>
                  <a:pt x="0" y="6858001"/>
                </a:lnTo>
                <a:close/>
              </a:path>
            </a:pathLst>
          </a:cu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AFF9371D-D89F-15C0-439D-0339F0B1CBA5}"/>
              </a:ext>
            </a:extLst>
          </p:cNvPr>
          <p:cNvSpPr txBox="1"/>
          <p:nvPr userDrawn="1"/>
        </p:nvSpPr>
        <p:spPr>
          <a:xfrm>
            <a:off x="5340644" y="3020948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tabLst>
                <a:tab pos="180340" algn="l"/>
              </a:tabLst>
              <a:defRPr sz="2400" kern="90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T</a:t>
            </a:r>
            <a:r>
              <a:rPr lang="de-DE" sz="2000" dirty="0">
                <a:solidFill>
                  <a:srgbClr val="FFFFFF"/>
                </a:solidFill>
              </a:rPr>
              <a:t>	+49 (69) 2556-0</a:t>
            </a:r>
          </a:p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E</a:t>
            </a:r>
            <a:r>
              <a:rPr lang="de-DE" sz="2000" dirty="0">
                <a:solidFill>
                  <a:srgbClr val="FFFFFF"/>
                </a:solidFill>
              </a:rPr>
              <a:t>	vci@vci.d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E35BE14-FFDD-A78B-CFA3-5D83394FD4D3}"/>
              </a:ext>
            </a:extLst>
          </p:cNvPr>
          <p:cNvSpPr txBox="1"/>
          <p:nvPr userDrawn="1"/>
        </p:nvSpPr>
        <p:spPr>
          <a:xfrm>
            <a:off x="35124" y="6681888"/>
            <a:ext cx="3600000" cy="153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FontTx/>
              <a:buNone/>
              <a:defRPr sz="10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719138" indent="-431800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2pPr>
            <a:lvl3pPr marL="1160463" indent="-441325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3pPr>
            <a:lvl4pPr marL="1612900" indent="-452438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Clr>
                <a:srgbClr val="10065A"/>
              </a:buClr>
              <a:buFontTx/>
              <a:buNone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de-DE" dirty="0"/>
              <a:t> © VCI </a:t>
            </a:r>
          </a:p>
        </p:txBody>
      </p:sp>
    </p:spTree>
    <p:extLst>
      <p:ext uri="{BB962C8B-B14F-4D97-AF65-F5344CB8AC3E}">
        <p14:creationId xmlns:p14="http://schemas.microsoft.com/office/powerpoint/2010/main" val="111018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CI-Daten | Türkis">
    <p:bg>
      <p:bgPr>
        <a:solidFill>
          <a:srgbClr val="10AD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0140" y="5340054"/>
            <a:ext cx="3833982" cy="150842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8D3C0DA-A817-A754-0A4F-2EFE562946C4}"/>
              </a:ext>
            </a:extLst>
          </p:cNvPr>
          <p:cNvSpPr txBox="1"/>
          <p:nvPr userDrawn="1"/>
        </p:nvSpPr>
        <p:spPr>
          <a:xfrm>
            <a:off x="5340644" y="4077072"/>
            <a:ext cx="65520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u="sng" kern="900" dirty="0">
                <a:solidFill>
                  <a:srgbClr val="10069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51BD952C-9325-6D29-107A-1D50FB69F750}"/>
              </a:ext>
            </a:extLst>
          </p:cNvPr>
          <p:cNvSpPr/>
          <p:nvPr userDrawn="1"/>
        </p:nvSpPr>
        <p:spPr>
          <a:xfrm>
            <a:off x="5340644" y="3604171"/>
            <a:ext cx="655200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53369EF-0E54-A6CC-C74F-5C8D586FEF0B}"/>
              </a:ext>
            </a:extLst>
          </p:cNvPr>
          <p:cNvSpPr txBox="1"/>
          <p:nvPr userDrawn="1"/>
        </p:nvSpPr>
        <p:spPr>
          <a:xfrm>
            <a:off x="5340644" y="1487201"/>
            <a:ext cx="65520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000" b="1" kern="900" cap="all" spc="50" baseline="0" dirty="0">
                <a:solidFill>
                  <a:srgbClr val="10069F"/>
                </a:solidFill>
                <a:effectLst/>
                <a:latin typeface="Montserrat Black" panose="00000A00000000000000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DEB2C2-673B-FE58-20E7-9740781B8452}"/>
              </a:ext>
            </a:extLst>
          </p:cNvPr>
          <p:cNvSpPr txBox="1"/>
          <p:nvPr userDrawn="1"/>
        </p:nvSpPr>
        <p:spPr>
          <a:xfrm>
            <a:off x="5340644" y="2060853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289D15B-B4F7-0106-41A7-F445E62BE8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1" t="10655" r="33753" b="308"/>
          <a:stretch/>
        </p:blipFill>
        <p:spPr>
          <a:xfrm>
            <a:off x="0" y="-9525"/>
            <a:ext cx="4907868" cy="6867525"/>
          </a:xfrm>
          <a:custGeom>
            <a:avLst/>
            <a:gdLst>
              <a:gd name="connsiteX0" fmla="*/ 0 w 4907868"/>
              <a:gd name="connsiteY0" fmla="*/ 0 h 6858001"/>
              <a:gd name="connsiteX1" fmla="*/ 4907868 w 4907868"/>
              <a:gd name="connsiteY1" fmla="*/ 0 h 6858001"/>
              <a:gd name="connsiteX2" fmla="*/ 4907868 w 4907868"/>
              <a:gd name="connsiteY2" fmla="*/ 5999571 h 6858001"/>
              <a:gd name="connsiteX3" fmla="*/ 3412293 w 4907868"/>
              <a:gd name="connsiteY3" fmla="*/ 6858001 h 6858001"/>
              <a:gd name="connsiteX4" fmla="*/ 0 w 490786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07868" h="6858001">
                <a:moveTo>
                  <a:pt x="0" y="0"/>
                </a:moveTo>
                <a:lnTo>
                  <a:pt x="4907868" y="0"/>
                </a:lnTo>
                <a:lnTo>
                  <a:pt x="4907868" y="5999571"/>
                </a:lnTo>
                <a:lnTo>
                  <a:pt x="3412293" y="6858001"/>
                </a:lnTo>
                <a:lnTo>
                  <a:pt x="0" y="6858001"/>
                </a:lnTo>
                <a:close/>
              </a:path>
            </a:pathLst>
          </a:cu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AFF9371D-D89F-15C0-439D-0339F0B1CBA5}"/>
              </a:ext>
            </a:extLst>
          </p:cNvPr>
          <p:cNvSpPr txBox="1"/>
          <p:nvPr userDrawn="1"/>
        </p:nvSpPr>
        <p:spPr>
          <a:xfrm>
            <a:off x="5340644" y="3020948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tabLst>
                <a:tab pos="180340" algn="l"/>
              </a:tabLst>
              <a:defRPr sz="2400" kern="90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T</a:t>
            </a:r>
            <a:r>
              <a:rPr lang="de-DE" sz="2000" dirty="0">
                <a:solidFill>
                  <a:srgbClr val="FFFFFF"/>
                </a:solidFill>
              </a:rPr>
              <a:t>	+49 (69) 2556-0</a:t>
            </a:r>
          </a:p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E</a:t>
            </a:r>
            <a:r>
              <a:rPr lang="de-DE" sz="2000" dirty="0">
                <a:solidFill>
                  <a:srgbClr val="FFFFFF"/>
                </a:solidFill>
              </a:rPr>
              <a:t>	vci@vci.d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E35BE14-FFDD-A78B-CFA3-5D83394FD4D3}"/>
              </a:ext>
            </a:extLst>
          </p:cNvPr>
          <p:cNvSpPr txBox="1"/>
          <p:nvPr userDrawn="1"/>
        </p:nvSpPr>
        <p:spPr>
          <a:xfrm>
            <a:off x="35124" y="6681888"/>
            <a:ext cx="3600000" cy="153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FontTx/>
              <a:buNone/>
              <a:defRPr sz="10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719138" indent="-431800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2pPr>
            <a:lvl3pPr marL="1160463" indent="-441325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3pPr>
            <a:lvl4pPr marL="1612900" indent="-452438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Clr>
                <a:srgbClr val="10065A"/>
              </a:buClr>
              <a:buFontTx/>
              <a:buNone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de-DE" dirty="0"/>
              <a:t> © VCI </a:t>
            </a:r>
          </a:p>
        </p:txBody>
      </p:sp>
    </p:spTree>
    <p:extLst>
      <p:ext uri="{BB962C8B-B14F-4D97-AF65-F5344CB8AC3E}">
        <p14:creationId xmlns:p14="http://schemas.microsoft.com/office/powerpoint/2010/main" val="1811400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CI-Daten | Violett">
    <p:bg>
      <p:bgPr>
        <a:solidFill>
          <a:srgbClr val="8C3E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0140" y="5340054"/>
            <a:ext cx="3833982" cy="150842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8D3C0DA-A817-A754-0A4F-2EFE562946C4}"/>
              </a:ext>
            </a:extLst>
          </p:cNvPr>
          <p:cNvSpPr txBox="1"/>
          <p:nvPr userDrawn="1"/>
        </p:nvSpPr>
        <p:spPr>
          <a:xfrm>
            <a:off x="5340644" y="4077072"/>
            <a:ext cx="65520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u="sng" kern="900" dirty="0">
                <a:solidFill>
                  <a:srgbClr val="FFC000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51BD952C-9325-6D29-107A-1D50FB69F750}"/>
              </a:ext>
            </a:extLst>
          </p:cNvPr>
          <p:cNvSpPr/>
          <p:nvPr userDrawn="1"/>
        </p:nvSpPr>
        <p:spPr>
          <a:xfrm>
            <a:off x="5340644" y="3604171"/>
            <a:ext cx="655200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53369EF-0E54-A6CC-C74F-5C8D586FEF0B}"/>
              </a:ext>
            </a:extLst>
          </p:cNvPr>
          <p:cNvSpPr txBox="1"/>
          <p:nvPr userDrawn="1"/>
        </p:nvSpPr>
        <p:spPr>
          <a:xfrm>
            <a:off x="5340644" y="1487201"/>
            <a:ext cx="65520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000" b="1" kern="900" cap="all" spc="50" baseline="0" dirty="0">
                <a:solidFill>
                  <a:srgbClr val="FFAD00"/>
                </a:solidFill>
                <a:effectLst/>
                <a:latin typeface="Montserrat Black" panose="00000A00000000000000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DEB2C2-673B-FE58-20E7-9740781B8452}"/>
              </a:ext>
            </a:extLst>
          </p:cNvPr>
          <p:cNvSpPr txBox="1"/>
          <p:nvPr userDrawn="1"/>
        </p:nvSpPr>
        <p:spPr>
          <a:xfrm>
            <a:off x="5340644" y="2060853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289D15B-B4F7-0106-41A7-F445E62BE8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1" t="10655" r="33753" b="308"/>
          <a:stretch/>
        </p:blipFill>
        <p:spPr>
          <a:xfrm>
            <a:off x="0" y="-9525"/>
            <a:ext cx="4907868" cy="6867525"/>
          </a:xfrm>
          <a:custGeom>
            <a:avLst/>
            <a:gdLst>
              <a:gd name="connsiteX0" fmla="*/ 0 w 4907868"/>
              <a:gd name="connsiteY0" fmla="*/ 0 h 6858001"/>
              <a:gd name="connsiteX1" fmla="*/ 4907868 w 4907868"/>
              <a:gd name="connsiteY1" fmla="*/ 0 h 6858001"/>
              <a:gd name="connsiteX2" fmla="*/ 4907868 w 4907868"/>
              <a:gd name="connsiteY2" fmla="*/ 5999571 h 6858001"/>
              <a:gd name="connsiteX3" fmla="*/ 3412293 w 4907868"/>
              <a:gd name="connsiteY3" fmla="*/ 6858001 h 6858001"/>
              <a:gd name="connsiteX4" fmla="*/ 0 w 490786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07868" h="6858001">
                <a:moveTo>
                  <a:pt x="0" y="0"/>
                </a:moveTo>
                <a:lnTo>
                  <a:pt x="4907868" y="0"/>
                </a:lnTo>
                <a:lnTo>
                  <a:pt x="4907868" y="5999571"/>
                </a:lnTo>
                <a:lnTo>
                  <a:pt x="3412293" y="6858001"/>
                </a:lnTo>
                <a:lnTo>
                  <a:pt x="0" y="6858001"/>
                </a:lnTo>
                <a:close/>
              </a:path>
            </a:pathLst>
          </a:cu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AFF9371D-D89F-15C0-439D-0339F0B1CBA5}"/>
              </a:ext>
            </a:extLst>
          </p:cNvPr>
          <p:cNvSpPr txBox="1"/>
          <p:nvPr userDrawn="1"/>
        </p:nvSpPr>
        <p:spPr>
          <a:xfrm>
            <a:off x="5340644" y="3020948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tabLst>
                <a:tab pos="180340" algn="l"/>
              </a:tabLst>
              <a:defRPr sz="2400" kern="90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T</a:t>
            </a:r>
            <a:r>
              <a:rPr lang="de-DE" sz="2000" dirty="0">
                <a:solidFill>
                  <a:srgbClr val="FFFFFF"/>
                </a:solidFill>
              </a:rPr>
              <a:t>	+49 (69) 2556-0</a:t>
            </a:r>
          </a:p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E</a:t>
            </a:r>
            <a:r>
              <a:rPr lang="de-DE" sz="2000" dirty="0">
                <a:solidFill>
                  <a:srgbClr val="FFFFFF"/>
                </a:solidFill>
              </a:rPr>
              <a:t>	vci@vci.d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E35BE14-FFDD-A78B-CFA3-5D83394FD4D3}"/>
              </a:ext>
            </a:extLst>
          </p:cNvPr>
          <p:cNvSpPr txBox="1"/>
          <p:nvPr userDrawn="1"/>
        </p:nvSpPr>
        <p:spPr>
          <a:xfrm>
            <a:off x="35124" y="6681888"/>
            <a:ext cx="3600000" cy="153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FontTx/>
              <a:buNone/>
              <a:defRPr sz="10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719138" indent="-431800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2pPr>
            <a:lvl3pPr marL="1160463" indent="-441325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3pPr>
            <a:lvl4pPr marL="1612900" indent="-452438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Clr>
                <a:srgbClr val="10065A"/>
              </a:buClr>
              <a:buFontTx/>
              <a:buNone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de-DE" dirty="0"/>
              <a:t> © VCI </a:t>
            </a:r>
          </a:p>
        </p:txBody>
      </p:sp>
    </p:spTree>
    <p:extLst>
      <p:ext uri="{BB962C8B-B14F-4D97-AF65-F5344CB8AC3E}">
        <p14:creationId xmlns:p14="http://schemas.microsoft.com/office/powerpoint/2010/main" val="2049538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CI-Daten | Orange">
    <p:bg>
      <p:bgPr>
        <a:solidFill>
          <a:srgbClr val="FF4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0140" y="5340054"/>
            <a:ext cx="3833982" cy="150842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8D3C0DA-A817-A754-0A4F-2EFE562946C4}"/>
              </a:ext>
            </a:extLst>
          </p:cNvPr>
          <p:cNvSpPr txBox="1"/>
          <p:nvPr userDrawn="1"/>
        </p:nvSpPr>
        <p:spPr>
          <a:xfrm>
            <a:off x="5340644" y="4077072"/>
            <a:ext cx="65520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u="sng" kern="900" dirty="0">
                <a:solidFill>
                  <a:srgbClr val="10069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51BD952C-9325-6D29-107A-1D50FB69F750}"/>
              </a:ext>
            </a:extLst>
          </p:cNvPr>
          <p:cNvSpPr/>
          <p:nvPr userDrawn="1"/>
        </p:nvSpPr>
        <p:spPr>
          <a:xfrm>
            <a:off x="5340644" y="3604171"/>
            <a:ext cx="655200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53369EF-0E54-A6CC-C74F-5C8D586FEF0B}"/>
              </a:ext>
            </a:extLst>
          </p:cNvPr>
          <p:cNvSpPr txBox="1"/>
          <p:nvPr userDrawn="1"/>
        </p:nvSpPr>
        <p:spPr>
          <a:xfrm>
            <a:off x="5340644" y="1487201"/>
            <a:ext cx="65520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000" b="1" kern="900" cap="all" spc="50" baseline="0" dirty="0">
                <a:solidFill>
                  <a:srgbClr val="10069F"/>
                </a:solidFill>
                <a:effectLst/>
                <a:latin typeface="Montserrat Black" panose="00000A00000000000000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DEB2C2-673B-FE58-20E7-9740781B8452}"/>
              </a:ext>
            </a:extLst>
          </p:cNvPr>
          <p:cNvSpPr txBox="1"/>
          <p:nvPr userDrawn="1"/>
        </p:nvSpPr>
        <p:spPr>
          <a:xfrm>
            <a:off x="5340644" y="2060853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289D15B-B4F7-0106-41A7-F445E62BE8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1" t="10655" r="33753" b="308"/>
          <a:stretch/>
        </p:blipFill>
        <p:spPr>
          <a:xfrm>
            <a:off x="0" y="-9525"/>
            <a:ext cx="4907868" cy="6867525"/>
          </a:xfrm>
          <a:custGeom>
            <a:avLst/>
            <a:gdLst>
              <a:gd name="connsiteX0" fmla="*/ 0 w 4907868"/>
              <a:gd name="connsiteY0" fmla="*/ 0 h 6858001"/>
              <a:gd name="connsiteX1" fmla="*/ 4907868 w 4907868"/>
              <a:gd name="connsiteY1" fmla="*/ 0 h 6858001"/>
              <a:gd name="connsiteX2" fmla="*/ 4907868 w 4907868"/>
              <a:gd name="connsiteY2" fmla="*/ 5999571 h 6858001"/>
              <a:gd name="connsiteX3" fmla="*/ 3412293 w 4907868"/>
              <a:gd name="connsiteY3" fmla="*/ 6858001 h 6858001"/>
              <a:gd name="connsiteX4" fmla="*/ 0 w 490786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07868" h="6858001">
                <a:moveTo>
                  <a:pt x="0" y="0"/>
                </a:moveTo>
                <a:lnTo>
                  <a:pt x="4907868" y="0"/>
                </a:lnTo>
                <a:lnTo>
                  <a:pt x="4907868" y="5999571"/>
                </a:lnTo>
                <a:lnTo>
                  <a:pt x="3412293" y="6858001"/>
                </a:lnTo>
                <a:lnTo>
                  <a:pt x="0" y="6858001"/>
                </a:lnTo>
                <a:close/>
              </a:path>
            </a:pathLst>
          </a:cu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AFF9371D-D89F-15C0-439D-0339F0B1CBA5}"/>
              </a:ext>
            </a:extLst>
          </p:cNvPr>
          <p:cNvSpPr txBox="1"/>
          <p:nvPr userDrawn="1"/>
        </p:nvSpPr>
        <p:spPr>
          <a:xfrm>
            <a:off x="5340644" y="3020948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tabLst>
                <a:tab pos="180340" algn="l"/>
              </a:tabLst>
              <a:defRPr sz="2400" kern="90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T</a:t>
            </a:r>
            <a:r>
              <a:rPr lang="de-DE" sz="2000" dirty="0">
                <a:solidFill>
                  <a:srgbClr val="FFFFFF"/>
                </a:solidFill>
              </a:rPr>
              <a:t>	+49 (69) 2556-0</a:t>
            </a:r>
          </a:p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E</a:t>
            </a:r>
            <a:r>
              <a:rPr lang="de-DE" sz="2000" dirty="0">
                <a:solidFill>
                  <a:srgbClr val="FFFFFF"/>
                </a:solidFill>
              </a:rPr>
              <a:t>	vci@vci.d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E35BE14-FFDD-A78B-CFA3-5D83394FD4D3}"/>
              </a:ext>
            </a:extLst>
          </p:cNvPr>
          <p:cNvSpPr txBox="1"/>
          <p:nvPr userDrawn="1"/>
        </p:nvSpPr>
        <p:spPr>
          <a:xfrm>
            <a:off x="35124" y="6681888"/>
            <a:ext cx="3600000" cy="153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FontTx/>
              <a:buNone/>
              <a:defRPr sz="10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719138" indent="-431800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2pPr>
            <a:lvl3pPr marL="1160463" indent="-441325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3pPr>
            <a:lvl4pPr marL="1612900" indent="-452438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Clr>
                <a:srgbClr val="10065A"/>
              </a:buClr>
              <a:buFontTx/>
              <a:buNone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de-DE" dirty="0"/>
              <a:t> © VCI </a:t>
            </a:r>
          </a:p>
        </p:txBody>
      </p:sp>
    </p:spTree>
    <p:extLst>
      <p:ext uri="{BB962C8B-B14F-4D97-AF65-F5344CB8AC3E}">
        <p14:creationId xmlns:p14="http://schemas.microsoft.com/office/powerpoint/2010/main" val="4102882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CI-Daten | Gold">
    <p:bg>
      <p:bgPr>
        <a:solidFill>
          <a:srgbClr val="FF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0140" y="5340054"/>
            <a:ext cx="3833982" cy="150842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8D3C0DA-A817-A754-0A4F-2EFE562946C4}"/>
              </a:ext>
            </a:extLst>
          </p:cNvPr>
          <p:cNvSpPr txBox="1"/>
          <p:nvPr userDrawn="1"/>
        </p:nvSpPr>
        <p:spPr>
          <a:xfrm>
            <a:off x="5340644" y="4077072"/>
            <a:ext cx="65520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u="sng" kern="900" dirty="0">
                <a:solidFill>
                  <a:srgbClr val="8C3E9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51BD952C-9325-6D29-107A-1D50FB69F750}"/>
              </a:ext>
            </a:extLst>
          </p:cNvPr>
          <p:cNvSpPr/>
          <p:nvPr userDrawn="1"/>
        </p:nvSpPr>
        <p:spPr>
          <a:xfrm>
            <a:off x="5340644" y="3604171"/>
            <a:ext cx="655200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53369EF-0E54-A6CC-C74F-5C8D586FEF0B}"/>
              </a:ext>
            </a:extLst>
          </p:cNvPr>
          <p:cNvSpPr txBox="1"/>
          <p:nvPr userDrawn="1"/>
        </p:nvSpPr>
        <p:spPr>
          <a:xfrm>
            <a:off x="5340644" y="1487201"/>
            <a:ext cx="65520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000" b="1" kern="900" cap="all" spc="50" baseline="0" dirty="0">
                <a:solidFill>
                  <a:schemeClr val="bg1"/>
                </a:solidFill>
                <a:effectLst/>
                <a:latin typeface="Montserrat Black" panose="00000A00000000000000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DEB2C2-673B-FE58-20E7-9740781B8452}"/>
              </a:ext>
            </a:extLst>
          </p:cNvPr>
          <p:cNvSpPr txBox="1"/>
          <p:nvPr userDrawn="1"/>
        </p:nvSpPr>
        <p:spPr>
          <a:xfrm>
            <a:off x="5340644" y="2060853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chemeClr val="bg1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chemeClr val="bg1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289D15B-B4F7-0106-41A7-F445E62BE8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1" t="10655" r="33753" b="308"/>
          <a:stretch/>
        </p:blipFill>
        <p:spPr>
          <a:xfrm>
            <a:off x="0" y="-9525"/>
            <a:ext cx="4907868" cy="6867525"/>
          </a:xfrm>
          <a:custGeom>
            <a:avLst/>
            <a:gdLst>
              <a:gd name="connsiteX0" fmla="*/ 0 w 4907868"/>
              <a:gd name="connsiteY0" fmla="*/ 0 h 6858001"/>
              <a:gd name="connsiteX1" fmla="*/ 4907868 w 4907868"/>
              <a:gd name="connsiteY1" fmla="*/ 0 h 6858001"/>
              <a:gd name="connsiteX2" fmla="*/ 4907868 w 4907868"/>
              <a:gd name="connsiteY2" fmla="*/ 5999571 h 6858001"/>
              <a:gd name="connsiteX3" fmla="*/ 3412293 w 4907868"/>
              <a:gd name="connsiteY3" fmla="*/ 6858001 h 6858001"/>
              <a:gd name="connsiteX4" fmla="*/ 0 w 490786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07868" h="6858001">
                <a:moveTo>
                  <a:pt x="0" y="0"/>
                </a:moveTo>
                <a:lnTo>
                  <a:pt x="4907868" y="0"/>
                </a:lnTo>
                <a:lnTo>
                  <a:pt x="4907868" y="5999571"/>
                </a:lnTo>
                <a:lnTo>
                  <a:pt x="3412293" y="6858001"/>
                </a:lnTo>
                <a:lnTo>
                  <a:pt x="0" y="6858001"/>
                </a:lnTo>
                <a:close/>
              </a:path>
            </a:pathLst>
          </a:cu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AFF9371D-D89F-15C0-439D-0339F0B1CBA5}"/>
              </a:ext>
            </a:extLst>
          </p:cNvPr>
          <p:cNvSpPr txBox="1"/>
          <p:nvPr userDrawn="1"/>
        </p:nvSpPr>
        <p:spPr>
          <a:xfrm>
            <a:off x="5340644" y="3020948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tabLst>
                <a:tab pos="180340" algn="l"/>
              </a:tabLst>
              <a:defRPr sz="2400" kern="90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chemeClr val="bg1"/>
                </a:solidFill>
              </a:rPr>
              <a:t>T</a:t>
            </a:r>
            <a:r>
              <a:rPr lang="de-DE" sz="2000" dirty="0">
                <a:solidFill>
                  <a:schemeClr val="bg1"/>
                </a:solidFill>
              </a:rPr>
              <a:t>	+49 (69) 2556-0</a:t>
            </a:r>
          </a:p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chemeClr val="bg1"/>
                </a:solidFill>
              </a:rPr>
              <a:t>E</a:t>
            </a:r>
            <a:r>
              <a:rPr lang="de-DE" sz="2000" dirty="0">
                <a:solidFill>
                  <a:schemeClr val="bg1"/>
                </a:solidFill>
              </a:rPr>
              <a:t>	vci@vci.d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E35BE14-FFDD-A78B-CFA3-5D83394FD4D3}"/>
              </a:ext>
            </a:extLst>
          </p:cNvPr>
          <p:cNvSpPr txBox="1"/>
          <p:nvPr userDrawn="1"/>
        </p:nvSpPr>
        <p:spPr>
          <a:xfrm>
            <a:off x="35124" y="6681888"/>
            <a:ext cx="3600000" cy="153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FontTx/>
              <a:buNone/>
              <a:defRPr sz="10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719138" indent="-431800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2pPr>
            <a:lvl3pPr marL="1160463" indent="-441325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3pPr>
            <a:lvl4pPr marL="1612900" indent="-452438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Clr>
                <a:srgbClr val="10065A"/>
              </a:buClr>
              <a:buFontTx/>
              <a:buNone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de-DE" dirty="0"/>
              <a:t> © VCI </a:t>
            </a:r>
          </a:p>
        </p:txBody>
      </p:sp>
    </p:spTree>
    <p:extLst>
      <p:ext uri="{BB962C8B-B14F-4D97-AF65-F5344CB8AC3E}">
        <p14:creationId xmlns:p14="http://schemas.microsoft.com/office/powerpoint/2010/main" val="1793133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CI-Daten | Grün">
    <p:bg>
      <p:bgPr>
        <a:solidFill>
          <a:srgbClr val="10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0140" y="5340054"/>
            <a:ext cx="3833982" cy="150842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8D3C0DA-A817-A754-0A4F-2EFE562946C4}"/>
              </a:ext>
            </a:extLst>
          </p:cNvPr>
          <p:cNvSpPr txBox="1"/>
          <p:nvPr userDrawn="1"/>
        </p:nvSpPr>
        <p:spPr>
          <a:xfrm>
            <a:off x="5340644" y="4077072"/>
            <a:ext cx="65520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u="sng" kern="900" dirty="0">
                <a:solidFill>
                  <a:srgbClr val="10069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51BD952C-9325-6D29-107A-1D50FB69F750}"/>
              </a:ext>
            </a:extLst>
          </p:cNvPr>
          <p:cNvSpPr/>
          <p:nvPr userDrawn="1"/>
        </p:nvSpPr>
        <p:spPr>
          <a:xfrm>
            <a:off x="5340644" y="3604171"/>
            <a:ext cx="655200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53369EF-0E54-A6CC-C74F-5C8D586FEF0B}"/>
              </a:ext>
            </a:extLst>
          </p:cNvPr>
          <p:cNvSpPr txBox="1"/>
          <p:nvPr userDrawn="1"/>
        </p:nvSpPr>
        <p:spPr>
          <a:xfrm>
            <a:off x="5340644" y="1487201"/>
            <a:ext cx="65520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000" b="1" kern="900" cap="all" spc="50" baseline="0" dirty="0">
                <a:solidFill>
                  <a:srgbClr val="FFFFFF"/>
                </a:solidFill>
                <a:effectLst/>
                <a:latin typeface="Montserrat Black" panose="00000A00000000000000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DEB2C2-673B-FE58-20E7-9740781B8452}"/>
              </a:ext>
            </a:extLst>
          </p:cNvPr>
          <p:cNvSpPr txBox="1"/>
          <p:nvPr userDrawn="1"/>
        </p:nvSpPr>
        <p:spPr>
          <a:xfrm>
            <a:off x="5340644" y="2060853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289D15B-B4F7-0106-41A7-F445E62BE8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1" t="10655" r="33753" b="308"/>
          <a:stretch/>
        </p:blipFill>
        <p:spPr>
          <a:xfrm>
            <a:off x="0" y="-9525"/>
            <a:ext cx="4907868" cy="6867525"/>
          </a:xfrm>
          <a:custGeom>
            <a:avLst/>
            <a:gdLst>
              <a:gd name="connsiteX0" fmla="*/ 0 w 4907868"/>
              <a:gd name="connsiteY0" fmla="*/ 0 h 6858001"/>
              <a:gd name="connsiteX1" fmla="*/ 4907868 w 4907868"/>
              <a:gd name="connsiteY1" fmla="*/ 0 h 6858001"/>
              <a:gd name="connsiteX2" fmla="*/ 4907868 w 4907868"/>
              <a:gd name="connsiteY2" fmla="*/ 5999571 h 6858001"/>
              <a:gd name="connsiteX3" fmla="*/ 3412293 w 4907868"/>
              <a:gd name="connsiteY3" fmla="*/ 6858001 h 6858001"/>
              <a:gd name="connsiteX4" fmla="*/ 0 w 490786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07868" h="6858001">
                <a:moveTo>
                  <a:pt x="0" y="0"/>
                </a:moveTo>
                <a:lnTo>
                  <a:pt x="4907868" y="0"/>
                </a:lnTo>
                <a:lnTo>
                  <a:pt x="4907868" y="5999571"/>
                </a:lnTo>
                <a:lnTo>
                  <a:pt x="3412293" y="6858001"/>
                </a:lnTo>
                <a:lnTo>
                  <a:pt x="0" y="6858001"/>
                </a:lnTo>
                <a:close/>
              </a:path>
            </a:pathLst>
          </a:cu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AFF9371D-D89F-15C0-439D-0339F0B1CBA5}"/>
              </a:ext>
            </a:extLst>
          </p:cNvPr>
          <p:cNvSpPr txBox="1"/>
          <p:nvPr userDrawn="1"/>
        </p:nvSpPr>
        <p:spPr>
          <a:xfrm>
            <a:off x="5340644" y="3020948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tabLst>
                <a:tab pos="180340" algn="l"/>
              </a:tabLst>
              <a:defRPr sz="2400" kern="90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T</a:t>
            </a:r>
            <a:r>
              <a:rPr lang="de-DE" sz="2000" dirty="0">
                <a:solidFill>
                  <a:srgbClr val="FFFFFF"/>
                </a:solidFill>
              </a:rPr>
              <a:t>	+49 (69) 2556-0</a:t>
            </a:r>
          </a:p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FFFFFF"/>
                </a:solidFill>
              </a:rPr>
              <a:t>E</a:t>
            </a:r>
            <a:r>
              <a:rPr lang="de-DE" sz="2000" dirty="0">
                <a:solidFill>
                  <a:srgbClr val="FFFFFF"/>
                </a:solidFill>
              </a:rPr>
              <a:t>	vci@vci.d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E35BE14-FFDD-A78B-CFA3-5D83394FD4D3}"/>
              </a:ext>
            </a:extLst>
          </p:cNvPr>
          <p:cNvSpPr txBox="1"/>
          <p:nvPr userDrawn="1"/>
        </p:nvSpPr>
        <p:spPr>
          <a:xfrm>
            <a:off x="35124" y="6681888"/>
            <a:ext cx="3600000" cy="153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FontTx/>
              <a:buNone/>
              <a:defRPr sz="10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719138" indent="-431800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2pPr>
            <a:lvl3pPr marL="1160463" indent="-441325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3pPr>
            <a:lvl4pPr marL="1612900" indent="-452438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Clr>
                <a:srgbClr val="10065A"/>
              </a:buClr>
              <a:buFontTx/>
              <a:buNone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de-DE" dirty="0"/>
              <a:t> © VCI </a:t>
            </a:r>
          </a:p>
        </p:txBody>
      </p:sp>
    </p:spTree>
    <p:extLst>
      <p:ext uri="{BB962C8B-B14F-4D97-AF65-F5344CB8AC3E}">
        <p14:creationId xmlns:p14="http://schemas.microsoft.com/office/powerpoint/2010/main" val="1904659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CI-Daten | Blaugrau/Dunkel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0594" y="5340412"/>
            <a:ext cx="3833073" cy="150770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8D3C0DA-A817-A754-0A4F-2EFE562946C4}"/>
              </a:ext>
            </a:extLst>
          </p:cNvPr>
          <p:cNvSpPr txBox="1"/>
          <p:nvPr userDrawn="1"/>
        </p:nvSpPr>
        <p:spPr>
          <a:xfrm>
            <a:off x="5340644" y="4077072"/>
            <a:ext cx="65520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u="sng" kern="900" dirty="0">
                <a:solidFill>
                  <a:srgbClr val="FF3EB5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51BD952C-9325-6D29-107A-1D50FB69F750}"/>
              </a:ext>
            </a:extLst>
          </p:cNvPr>
          <p:cNvSpPr/>
          <p:nvPr userDrawn="1"/>
        </p:nvSpPr>
        <p:spPr>
          <a:xfrm>
            <a:off x="5340644" y="3604171"/>
            <a:ext cx="655200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10065A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53369EF-0E54-A6CC-C74F-5C8D586FEF0B}"/>
              </a:ext>
            </a:extLst>
          </p:cNvPr>
          <p:cNvSpPr txBox="1"/>
          <p:nvPr userDrawn="1"/>
        </p:nvSpPr>
        <p:spPr>
          <a:xfrm>
            <a:off x="5340644" y="1487201"/>
            <a:ext cx="65520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000" b="1" kern="900" cap="all" spc="50" baseline="0" dirty="0">
                <a:solidFill>
                  <a:srgbClr val="FF3EB5"/>
                </a:solidFill>
                <a:effectLst/>
                <a:latin typeface="Montserrat Black" panose="00000A00000000000000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DEB2C2-673B-FE58-20E7-9740781B8452}"/>
              </a:ext>
            </a:extLst>
          </p:cNvPr>
          <p:cNvSpPr txBox="1"/>
          <p:nvPr userDrawn="1"/>
        </p:nvSpPr>
        <p:spPr>
          <a:xfrm>
            <a:off x="5340644" y="2060853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10065A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10065A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289D15B-B4F7-0106-41A7-F445E62BE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1" t="10710" r="33753" b="253"/>
          <a:stretch/>
        </p:blipFill>
        <p:spPr>
          <a:xfrm>
            <a:off x="0" y="-9525"/>
            <a:ext cx="4907868" cy="6867525"/>
          </a:xfrm>
          <a:custGeom>
            <a:avLst/>
            <a:gdLst>
              <a:gd name="connsiteX0" fmla="*/ 0 w 4907868"/>
              <a:gd name="connsiteY0" fmla="*/ 0 h 6858001"/>
              <a:gd name="connsiteX1" fmla="*/ 4907868 w 4907868"/>
              <a:gd name="connsiteY1" fmla="*/ 0 h 6858001"/>
              <a:gd name="connsiteX2" fmla="*/ 4907868 w 4907868"/>
              <a:gd name="connsiteY2" fmla="*/ 5999571 h 6858001"/>
              <a:gd name="connsiteX3" fmla="*/ 3412293 w 4907868"/>
              <a:gd name="connsiteY3" fmla="*/ 6858001 h 6858001"/>
              <a:gd name="connsiteX4" fmla="*/ 0 w 490786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07868" h="6858001">
                <a:moveTo>
                  <a:pt x="0" y="0"/>
                </a:moveTo>
                <a:lnTo>
                  <a:pt x="4907868" y="0"/>
                </a:lnTo>
                <a:lnTo>
                  <a:pt x="4907868" y="5999571"/>
                </a:lnTo>
                <a:lnTo>
                  <a:pt x="3412293" y="6858001"/>
                </a:lnTo>
                <a:lnTo>
                  <a:pt x="0" y="6858001"/>
                </a:lnTo>
                <a:close/>
              </a:path>
            </a:pathLst>
          </a:cu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AFF9371D-D89F-15C0-439D-0339F0B1CBA5}"/>
              </a:ext>
            </a:extLst>
          </p:cNvPr>
          <p:cNvSpPr txBox="1"/>
          <p:nvPr userDrawn="1"/>
        </p:nvSpPr>
        <p:spPr>
          <a:xfrm>
            <a:off x="5340644" y="3020948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tabLst>
                <a:tab pos="180340" algn="l"/>
              </a:tabLst>
              <a:defRPr sz="2400" kern="90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10065A"/>
                </a:solidFill>
              </a:rPr>
              <a:t>T </a:t>
            </a:r>
            <a:r>
              <a:rPr lang="de-DE" sz="2000" dirty="0">
                <a:solidFill>
                  <a:srgbClr val="10065A"/>
                </a:solidFill>
              </a:rPr>
              <a:t>	+49 (69) 2556-0</a:t>
            </a:r>
          </a:p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10065A"/>
                </a:solidFill>
              </a:rPr>
              <a:t>E</a:t>
            </a:r>
            <a:r>
              <a:rPr lang="de-DE" sz="2000" dirty="0">
                <a:solidFill>
                  <a:srgbClr val="10065A"/>
                </a:solidFill>
              </a:rPr>
              <a:t>	vci@vci.d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E35BE14-FFDD-A78B-CFA3-5D83394FD4D3}"/>
              </a:ext>
            </a:extLst>
          </p:cNvPr>
          <p:cNvSpPr txBox="1"/>
          <p:nvPr userDrawn="1"/>
        </p:nvSpPr>
        <p:spPr>
          <a:xfrm>
            <a:off x="35124" y="6681888"/>
            <a:ext cx="3600000" cy="153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FontTx/>
              <a:buNone/>
              <a:defRPr sz="10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719138" indent="-431800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2pPr>
            <a:lvl3pPr marL="1160463" indent="-441325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3pPr>
            <a:lvl4pPr marL="1612900" indent="-452438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Clr>
                <a:srgbClr val="10065A"/>
              </a:buClr>
              <a:buFontTx/>
              <a:buNone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de-DE" dirty="0"/>
              <a:t> © VCI </a:t>
            </a:r>
          </a:p>
        </p:txBody>
      </p:sp>
    </p:spTree>
    <p:extLst>
      <p:ext uri="{BB962C8B-B14F-4D97-AF65-F5344CB8AC3E}">
        <p14:creationId xmlns:p14="http://schemas.microsoft.com/office/powerpoint/2010/main" val="2517424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Blaugrau/Dunkel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328" y="5781819"/>
            <a:ext cx="2735342" cy="1075923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1D0ED014-F9DD-4204-88EA-EEAB6D79BF1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5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388684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CI-Daten | Blaugrau/Blau">
    <p:bg>
      <p:bgPr>
        <a:solidFill>
          <a:srgbClr val="F0F3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1049" y="5340412"/>
            <a:ext cx="3832162" cy="150770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8D3C0DA-A817-A754-0A4F-2EFE562946C4}"/>
              </a:ext>
            </a:extLst>
          </p:cNvPr>
          <p:cNvSpPr txBox="1"/>
          <p:nvPr userDrawn="1"/>
        </p:nvSpPr>
        <p:spPr>
          <a:xfrm>
            <a:off x="5340644" y="4077072"/>
            <a:ext cx="65520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400" b="1" u="sng" kern="900" dirty="0">
                <a:solidFill>
                  <a:srgbClr val="FF3EB5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ww.vci.de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51BD952C-9325-6D29-107A-1D50FB69F750}"/>
              </a:ext>
            </a:extLst>
          </p:cNvPr>
          <p:cNvSpPr/>
          <p:nvPr userDrawn="1"/>
        </p:nvSpPr>
        <p:spPr>
          <a:xfrm>
            <a:off x="5340644" y="3604171"/>
            <a:ext cx="655200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10065A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53369EF-0E54-A6CC-C74F-5C8D586FEF0B}"/>
              </a:ext>
            </a:extLst>
          </p:cNvPr>
          <p:cNvSpPr txBox="1"/>
          <p:nvPr userDrawn="1"/>
        </p:nvSpPr>
        <p:spPr>
          <a:xfrm>
            <a:off x="5340644" y="1487201"/>
            <a:ext cx="65520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de-DE" sz="2000" b="1" kern="900" cap="all" spc="50" baseline="0" dirty="0">
                <a:solidFill>
                  <a:srgbClr val="FF3EB5"/>
                </a:solidFill>
                <a:effectLst/>
                <a:latin typeface="Montserrat Black" panose="00000A00000000000000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Verband der Chemischen Industrie e.V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DEB2C2-673B-FE58-20E7-9740781B8452}"/>
              </a:ext>
            </a:extLst>
          </p:cNvPr>
          <p:cNvSpPr txBox="1"/>
          <p:nvPr userDrawn="1"/>
        </p:nvSpPr>
        <p:spPr>
          <a:xfrm>
            <a:off x="5340644" y="2060853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10069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nzer Landstraße 55 </a:t>
            </a:r>
          </a:p>
          <a:p>
            <a:pPr algn="l">
              <a:tabLst>
                <a:tab pos="180340" algn="l"/>
              </a:tabLst>
            </a:pPr>
            <a:r>
              <a:rPr lang="de-DE" sz="2000" kern="900" dirty="0">
                <a:solidFill>
                  <a:srgbClr val="10069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0329 Frankfurt am Mai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289D15B-B4F7-0106-41A7-F445E62BE8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1" t="10655" r="33753" b="308"/>
          <a:stretch/>
        </p:blipFill>
        <p:spPr>
          <a:xfrm>
            <a:off x="0" y="-9525"/>
            <a:ext cx="4907868" cy="6867525"/>
          </a:xfrm>
          <a:custGeom>
            <a:avLst/>
            <a:gdLst>
              <a:gd name="connsiteX0" fmla="*/ 0 w 4907868"/>
              <a:gd name="connsiteY0" fmla="*/ 0 h 6858001"/>
              <a:gd name="connsiteX1" fmla="*/ 4907868 w 4907868"/>
              <a:gd name="connsiteY1" fmla="*/ 0 h 6858001"/>
              <a:gd name="connsiteX2" fmla="*/ 4907868 w 4907868"/>
              <a:gd name="connsiteY2" fmla="*/ 5999571 h 6858001"/>
              <a:gd name="connsiteX3" fmla="*/ 3412293 w 4907868"/>
              <a:gd name="connsiteY3" fmla="*/ 6858001 h 6858001"/>
              <a:gd name="connsiteX4" fmla="*/ 0 w 490786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07868" h="6858001">
                <a:moveTo>
                  <a:pt x="0" y="0"/>
                </a:moveTo>
                <a:lnTo>
                  <a:pt x="4907868" y="0"/>
                </a:lnTo>
                <a:lnTo>
                  <a:pt x="4907868" y="5999571"/>
                </a:lnTo>
                <a:lnTo>
                  <a:pt x="3412293" y="6858001"/>
                </a:lnTo>
                <a:lnTo>
                  <a:pt x="0" y="6858001"/>
                </a:lnTo>
                <a:close/>
              </a:path>
            </a:pathLst>
          </a:cu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AFF9371D-D89F-15C0-439D-0339F0B1CBA5}"/>
              </a:ext>
            </a:extLst>
          </p:cNvPr>
          <p:cNvSpPr txBox="1"/>
          <p:nvPr userDrawn="1"/>
        </p:nvSpPr>
        <p:spPr>
          <a:xfrm>
            <a:off x="5340644" y="3020948"/>
            <a:ext cx="655200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tabLst>
                <a:tab pos="180340" algn="l"/>
              </a:tabLst>
              <a:defRPr sz="2400" kern="90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10069F"/>
                </a:solidFill>
              </a:rPr>
              <a:t>T </a:t>
            </a:r>
            <a:r>
              <a:rPr lang="de-DE" sz="2000" dirty="0">
                <a:solidFill>
                  <a:srgbClr val="10069F"/>
                </a:solidFill>
              </a:rPr>
              <a:t>	+49 (69) 2556-0</a:t>
            </a:r>
          </a:p>
          <a:p>
            <a:pPr lvl="0">
              <a:tabLst>
                <a:tab pos="444500" algn="l"/>
              </a:tabLst>
            </a:pPr>
            <a:r>
              <a:rPr lang="de-DE" sz="2000" b="1" dirty="0">
                <a:solidFill>
                  <a:srgbClr val="10069F"/>
                </a:solidFill>
              </a:rPr>
              <a:t>E</a:t>
            </a:r>
            <a:r>
              <a:rPr lang="de-DE" sz="2000" dirty="0">
                <a:solidFill>
                  <a:srgbClr val="10069F"/>
                </a:solidFill>
              </a:rPr>
              <a:t>	vci@vci.d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E35BE14-FFDD-A78B-CFA3-5D83394FD4D3}"/>
              </a:ext>
            </a:extLst>
          </p:cNvPr>
          <p:cNvSpPr txBox="1"/>
          <p:nvPr userDrawn="1"/>
        </p:nvSpPr>
        <p:spPr>
          <a:xfrm>
            <a:off x="35124" y="6681888"/>
            <a:ext cx="3600000" cy="153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FontTx/>
              <a:buNone/>
              <a:defRPr sz="10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719138" indent="-431800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2pPr>
            <a:lvl3pPr marL="1160463" indent="-441325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3pPr>
            <a:lvl4pPr marL="1612900" indent="-452438">
              <a:lnSpc>
                <a:spcPct val="100000"/>
              </a:lnSpc>
              <a:spcBef>
                <a:spcPts val="500"/>
              </a:spcBef>
              <a:buClr>
                <a:srgbClr val="10065A"/>
              </a:buClr>
              <a:buFont typeface="VCI_Symbole" panose="02000503000000000000" pitchFamily="2" charset="2"/>
              <a:buChar char=""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Clr>
                <a:srgbClr val="10065A"/>
              </a:buClr>
              <a:buFontTx/>
              <a:buNone/>
              <a:defRPr lang="de-DE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Source Sans Pro" panose="020B0503030403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de-DE" dirty="0"/>
              <a:t> © VCI </a:t>
            </a:r>
          </a:p>
        </p:txBody>
      </p:sp>
    </p:spTree>
    <p:extLst>
      <p:ext uri="{BB962C8B-B14F-4D97-AF65-F5344CB8AC3E}">
        <p14:creationId xmlns:p14="http://schemas.microsoft.com/office/powerpoint/2010/main" val="4264533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e Foli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7731A11-C713-C88D-BB91-277E0545AB4F}"/>
              </a:ext>
            </a:extLst>
          </p:cNvPr>
          <p:cNvSpPr txBox="1"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0065A"/>
          </a:solidFill>
        </p:spPr>
        <p:txBody>
          <a:bodyPr wrap="square" rtlCol="0" anchor="ctr" anchorCtr="1">
            <a:noAutofit/>
          </a:bodyPr>
          <a:lstStyle/>
          <a:p>
            <a:r>
              <a:rPr lang="de-DE" sz="16600" cap="all" baseline="0" dirty="0">
                <a:solidFill>
                  <a:srgbClr val="FF3EB5"/>
                </a:solidFill>
                <a:latin typeface="Montserrat Black" pitchFamily="2" charset="0"/>
              </a:rPr>
              <a:t>Leer</a:t>
            </a:r>
          </a:p>
        </p:txBody>
      </p:sp>
    </p:spTree>
    <p:extLst>
      <p:ext uri="{BB962C8B-B14F-4D97-AF65-F5344CB8AC3E}">
        <p14:creationId xmlns:p14="http://schemas.microsoft.com/office/powerpoint/2010/main" val="2207014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-Platzhalter">
            <a:extLst>
              <a:ext uri="{FF2B5EF4-FFF2-40B4-BE49-F238E27FC236}">
                <a16:creationId xmlns:a16="http://schemas.microsoft.com/office/drawing/2014/main" id="{38E0543A-AF4D-F247-9026-B182A82D52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2188" y="0"/>
            <a:ext cx="12192000" cy="6858000"/>
          </a:xfrm>
          <a:solidFill>
            <a:srgbClr val="F0F3F7"/>
          </a:solidFill>
        </p:spPr>
        <p:txBody>
          <a:bodyPr bIns="1476000" anchor="ctr" anchorCtr="0"/>
          <a:lstStyle>
            <a:lvl1pPr marL="0" indent="0" algn="ctr">
              <a:buNone/>
              <a:defRPr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Bild durch Klicken auf Symbol hinzufügen!</a:t>
            </a:r>
          </a:p>
        </p:txBody>
      </p:sp>
      <p:sp>
        <p:nvSpPr>
          <p:cNvPr id="5" name="Bild-Nachweis">
            <a:extLst>
              <a:ext uri="{FF2B5EF4-FFF2-40B4-BE49-F238E27FC236}">
                <a16:creationId xmlns:a16="http://schemas.microsoft.com/office/drawing/2014/main" id="{D9291CCF-3DCC-7FCA-C3A5-097DB79955A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9028" y="6612972"/>
            <a:ext cx="4320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855123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 |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">
            <a:extLst>
              <a:ext uri="{FF2B5EF4-FFF2-40B4-BE49-F238E27FC236}">
                <a16:creationId xmlns:a16="http://schemas.microsoft.com/office/drawing/2014/main" id="{F3BE353D-C093-FBCF-8A2F-73D463CF07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B37595C-008C-4A75-B67E-A50F46C0B81D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1738FA93-643E-4715-070B-47FAD19C89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DA576E7-D5ED-1D28-7F8C-FACBAF6F20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3551326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|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">
            <a:extLst>
              <a:ext uri="{FF2B5EF4-FFF2-40B4-BE49-F238E27FC236}">
                <a16:creationId xmlns:a16="http://schemas.microsoft.com/office/drawing/2014/main" id="{F3BE353D-C093-FBCF-8A2F-73D463CF07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155214F-521A-4043-A9C5-F31BFE11BF2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1738FA93-643E-4715-070B-47FAD19C89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6474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7109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GRAMM | 2 Sp. , Inhalt rechts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-Titel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idx="18" hasCustomPrompt="1"/>
          </p:nvPr>
        </p:nvSpPr>
        <p:spPr>
          <a:xfrm>
            <a:off x="8079734" y="1742882"/>
            <a:ext cx="3600000" cy="4170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  <a:lvl6pPr>
              <a:defRPr lang="de-DE" dirty="0" smtClean="0"/>
            </a:lvl6pPr>
            <a:lvl7pPr>
              <a:defRPr lang="de-DE" dirty="0" smtClean="0"/>
            </a:lvl7pPr>
            <a:lvl8pPr>
              <a:defRPr lang="de-DE" dirty="0" smtClean="0"/>
            </a:lvl8pPr>
          </a:lstStyle>
          <a:p>
            <a:pPr lvl="0"/>
            <a:r>
              <a:rPr lang="de-DE" dirty="0"/>
              <a:t>Text -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Diagrammplatzhalter 7"/>
          <p:cNvSpPr>
            <a:spLocks noGrp="1"/>
          </p:cNvSpPr>
          <p:nvPr>
            <p:ph type="chart" sz="quarter" idx="19" hasCustomPrompt="1"/>
          </p:nvPr>
        </p:nvSpPr>
        <p:spPr>
          <a:xfrm>
            <a:off x="521656" y="1742882"/>
            <a:ext cx="7200000" cy="417055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800" dirty="0">
                <a:solidFill>
                  <a:srgbClr val="FF0000"/>
                </a:solidFill>
              </a:defRPr>
            </a:lvl1pPr>
          </a:lstStyle>
          <a:p>
            <a:pPr marL="324000" lvl="0" indent="-324000"/>
            <a:r>
              <a:rPr lang="de-DE" noProof="0" dirty="0"/>
              <a:t>Diagramm</a:t>
            </a:r>
            <a:r>
              <a:rPr lang="de-DE" dirty="0"/>
              <a:t> durch Klicken auf Symbol erstellen!</a:t>
            </a:r>
          </a:p>
        </p:txBody>
      </p:sp>
      <p:sp>
        <p:nvSpPr>
          <p:cNvPr id="57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521659" y="1060079"/>
            <a:ext cx="11154404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aseline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Diagramm-Titel</a:t>
            </a:r>
          </a:p>
        </p:txBody>
      </p:sp>
      <p:sp>
        <p:nvSpPr>
          <p:cNvPr id="85" name="Subline"/>
          <p:cNvSpPr>
            <a:spLocks noGrp="1"/>
          </p:cNvSpPr>
          <p:nvPr>
            <p:ph type="body" sz="quarter" idx="20" hasCustomPrompt="1"/>
          </p:nvPr>
        </p:nvSpPr>
        <p:spPr>
          <a:xfrm>
            <a:off x="521659" y="1348079"/>
            <a:ext cx="11154404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-Untertit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186D5EC-1679-476F-A130-5411EB6C42BD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97098677-E3E1-4235-AABC-B19A45238A8D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BFC5F7-9EEE-4EB3-A4A5-A0591D746D09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B42D4303-B7FF-7540-9F33-74BBD701814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0E23B225-9CDA-4890-BD4F-51906AE9A3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69" y="5977438"/>
            <a:ext cx="7181587" cy="14068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Quelle hier eingeben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620A0B31-48BA-4AF7-8A60-C4DCC3CD763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079734" y="5977438"/>
            <a:ext cx="2808000" cy="125180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Autor/Zusatzinfo hier angeben</a:t>
            </a:r>
          </a:p>
        </p:txBody>
      </p:sp>
    </p:spTree>
    <p:extLst>
      <p:ext uri="{BB962C8B-B14F-4D97-AF65-F5344CB8AC3E}">
        <p14:creationId xmlns:p14="http://schemas.microsoft.com/office/powerpoint/2010/main" val="78445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GRAMM | 2 Sp. , Inhalt rechts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-Titel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idx="14" hasCustomPrompt="1"/>
          </p:nvPr>
        </p:nvSpPr>
        <p:spPr>
          <a:xfrm>
            <a:off x="6273736" y="1742881"/>
            <a:ext cx="5400000" cy="4170557"/>
          </a:xfrm>
          <a:prstGeom prst="rect">
            <a:avLst/>
          </a:prstGeom>
        </p:spPr>
        <p:txBody>
          <a:bodyPr lIns="0" tIns="0" rIns="0" bIns="0"/>
          <a:lstStyle>
            <a:lvl1pPr>
              <a:defRPr lang="de-DE" noProof="0" dirty="0" smtClean="0"/>
            </a:lvl1pPr>
            <a:lvl2pPr>
              <a:defRPr lang="de-DE" noProof="0" dirty="0" smtClean="0"/>
            </a:lvl2pPr>
            <a:lvl3pPr>
              <a:defRPr lang="de-DE" noProof="0" dirty="0" smtClean="0"/>
            </a:lvl3pPr>
            <a:lvl4pPr>
              <a:defRPr lang="de-DE" noProof="0" dirty="0" smtClean="0"/>
            </a:lvl4pPr>
            <a:lvl5pPr>
              <a:defRPr lang="de-DE" noProof="0" dirty="0"/>
            </a:lvl5pPr>
          </a:lstStyle>
          <a:p>
            <a:pPr lvl="0"/>
            <a:r>
              <a:rPr lang="de-DE" dirty="0"/>
              <a:t>Text -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Diagrammplatzhalter 7"/>
          <p:cNvSpPr>
            <a:spLocks noGrp="1"/>
          </p:cNvSpPr>
          <p:nvPr>
            <p:ph type="chart" sz="quarter" idx="18" hasCustomPrompt="1"/>
          </p:nvPr>
        </p:nvSpPr>
        <p:spPr>
          <a:xfrm>
            <a:off x="521658" y="1742882"/>
            <a:ext cx="5400000" cy="4170556"/>
          </a:xfrm>
        </p:spPr>
        <p:txBody>
          <a:bodyPr vert="horz" lIns="0" tIns="0" rIns="0" bIns="0" rtlCol="0">
            <a:noAutofit/>
          </a:bodyPr>
          <a:lstStyle>
            <a:lvl1pPr marL="270000" indent="-270000">
              <a:buFont typeface="Arial" panose="020B0604020202020204" pitchFamily="34" charset="0"/>
              <a:buChar char="•"/>
              <a:defRPr lang="de-DE" sz="1800" dirty="0">
                <a:solidFill>
                  <a:srgbClr val="FF0000"/>
                </a:solidFill>
              </a:defRPr>
            </a:lvl1pPr>
          </a:lstStyle>
          <a:p>
            <a:pPr marL="0" lvl="0" indent="0">
              <a:buNone/>
            </a:pPr>
            <a:r>
              <a:rPr lang="de-DE" dirty="0"/>
              <a:t>Diagramm durch Klicken auf Symbol erstellen!</a:t>
            </a:r>
          </a:p>
        </p:txBody>
      </p:sp>
      <p:sp>
        <p:nvSpPr>
          <p:cNvPr id="57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521659" y="1060079"/>
            <a:ext cx="11154404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aseline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Diagramm-Titel</a:t>
            </a:r>
          </a:p>
        </p:txBody>
      </p:sp>
      <p:sp>
        <p:nvSpPr>
          <p:cNvPr id="82" name="Subline"/>
          <p:cNvSpPr>
            <a:spLocks noGrp="1"/>
          </p:cNvSpPr>
          <p:nvPr>
            <p:ph type="body" sz="quarter" idx="19" hasCustomPrompt="1"/>
          </p:nvPr>
        </p:nvSpPr>
        <p:spPr>
          <a:xfrm>
            <a:off x="521659" y="1348079"/>
            <a:ext cx="11154404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baseline="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Diagramm-Untertit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E348F2-5B7D-4E35-82D4-CDCBB6392B01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EDE05957-784E-4ED8-8310-BCB299E6DF9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2D1E6A-49F9-41F3-90C1-455D91B1492F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B42D4303-B7FF-7540-9F33-74BBD701814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E5489CBA-2DB8-4FEA-9364-9527E70248B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069" y="5977438"/>
            <a:ext cx="5376543" cy="125180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Quelle hier eingeben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5F567A05-ADEF-4769-9D8F-E85857B325C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73736" y="5977438"/>
            <a:ext cx="4500000" cy="125180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Autor/Zusatzinfo hier angeben</a:t>
            </a:r>
          </a:p>
        </p:txBody>
      </p:sp>
    </p:spTree>
    <p:extLst>
      <p:ext uri="{BB962C8B-B14F-4D97-AF65-F5344CB8AC3E}">
        <p14:creationId xmlns:p14="http://schemas.microsoft.com/office/powerpoint/2010/main" val="2872724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1 | Blaugrau/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>
            <a:extLst>
              <a:ext uri="{FF2B5EF4-FFF2-40B4-BE49-F238E27FC236}">
                <a16:creationId xmlns:a16="http://schemas.microsoft.com/office/drawing/2014/main" id="{17E3831A-EF9F-DE82-127E-9471FC7AA8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6003" y="5781563"/>
            <a:ext cx="2735993" cy="1076435"/>
          </a:xfrm>
          <a:prstGeom prst="rect">
            <a:avLst/>
          </a:prstGeom>
        </p:spPr>
      </p:pic>
      <p:sp>
        <p:nvSpPr>
          <p:cNvPr id="28" name="Dreieck">
            <a:extLst>
              <a:ext uri="{FF2B5EF4-FFF2-40B4-BE49-F238E27FC236}">
                <a16:creationId xmlns:a16="http://schemas.microsoft.com/office/drawing/2014/main" id="{1C6EBD1E-EC29-1E31-563A-3264D4061A56}"/>
              </a:ext>
            </a:extLst>
          </p:cNvPr>
          <p:cNvSpPr/>
          <p:nvPr userDrawn="1"/>
        </p:nvSpPr>
        <p:spPr>
          <a:xfrm flipH="1" flipV="1">
            <a:off x="10848528" y="0"/>
            <a:ext cx="1343472" cy="4841908"/>
          </a:xfrm>
          <a:prstGeom prst="rect">
            <a:avLst/>
          </a:pr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eiste-Blau">
            <a:extLst>
              <a:ext uri="{FF2B5EF4-FFF2-40B4-BE49-F238E27FC236}">
                <a16:creationId xmlns:a16="http://schemas.microsoft.com/office/drawing/2014/main" id="{FF37AB0F-5BB7-3CA6-B379-F1EB1CDD69F3}"/>
              </a:ext>
            </a:extLst>
          </p:cNvPr>
          <p:cNvSpPr/>
          <p:nvPr userDrawn="1"/>
        </p:nvSpPr>
        <p:spPr>
          <a:xfrm>
            <a:off x="0" y="4824281"/>
            <a:ext cx="12192000" cy="2061103"/>
          </a:xfrm>
          <a:custGeom>
            <a:avLst/>
            <a:gdLst>
              <a:gd name="connsiteX0" fmla="*/ 0 w 12192000"/>
              <a:gd name="connsiteY0" fmla="*/ 0 h 2379236"/>
              <a:gd name="connsiteX1" fmla="*/ 12192000 w 12192000"/>
              <a:gd name="connsiteY1" fmla="*/ 0 h 2379236"/>
              <a:gd name="connsiteX2" fmla="*/ 12192000 w 12192000"/>
              <a:gd name="connsiteY2" fmla="*/ 8301 h 2379236"/>
              <a:gd name="connsiteX3" fmla="*/ 8544272 w 12192000"/>
              <a:gd name="connsiteY3" fmla="*/ 2374088 h 2379236"/>
              <a:gd name="connsiteX4" fmla="*/ 12192000 w 12192000"/>
              <a:gd name="connsiteY4" fmla="*/ 2374088 h 2379236"/>
              <a:gd name="connsiteX5" fmla="*/ 12192000 w 12192000"/>
              <a:gd name="connsiteY5" fmla="*/ 2379236 h 2379236"/>
              <a:gd name="connsiteX6" fmla="*/ 0 w 12192000"/>
              <a:gd name="connsiteY6" fmla="*/ 2379236 h 237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379236">
                <a:moveTo>
                  <a:pt x="0" y="0"/>
                </a:moveTo>
                <a:lnTo>
                  <a:pt x="12192000" y="0"/>
                </a:lnTo>
                <a:lnTo>
                  <a:pt x="12192000" y="8301"/>
                </a:lnTo>
                <a:lnTo>
                  <a:pt x="8544272" y="2374088"/>
                </a:lnTo>
                <a:lnTo>
                  <a:pt x="12192000" y="2374088"/>
                </a:lnTo>
                <a:lnTo>
                  <a:pt x="12192000" y="2379236"/>
                </a:lnTo>
                <a:lnTo>
                  <a:pt x="0" y="2379236"/>
                </a:lnTo>
                <a:close/>
              </a:path>
            </a:pathLst>
          </a:custGeom>
          <a:solidFill>
            <a:srgbClr val="F0F3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rgbClr val="10ADAA"/>
              </a:solidFill>
            </a:endParaRPr>
          </a:p>
        </p:txBody>
      </p:sp>
      <p:sp>
        <p:nvSpPr>
          <p:cNvPr id="31" name="Bild-Platzhalter">
            <a:extLst>
              <a:ext uri="{FF2B5EF4-FFF2-40B4-BE49-F238E27FC236}">
                <a16:creationId xmlns:a16="http://schemas.microsoft.com/office/drawing/2014/main" id="{97514CFE-E067-05FC-4A7C-FDABF2CBC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0849" cy="4824000"/>
          </a:xfrm>
          <a:custGeom>
            <a:avLst/>
            <a:gdLst>
              <a:gd name="connsiteX0" fmla="*/ 0 w 12180849"/>
              <a:gd name="connsiteY0" fmla="*/ 0 h 4791749"/>
              <a:gd name="connsiteX1" fmla="*/ 10993818 w 12180849"/>
              <a:gd name="connsiteY1" fmla="*/ 0 h 4791749"/>
              <a:gd name="connsiteX2" fmla="*/ 12180849 w 12180849"/>
              <a:gd name="connsiteY2" fmla="*/ 4791749 h 4791749"/>
              <a:gd name="connsiteX3" fmla="*/ 0 w 12180849"/>
              <a:gd name="connsiteY3" fmla="*/ 4791749 h 479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0849" h="4791749">
                <a:moveTo>
                  <a:pt x="0" y="0"/>
                </a:moveTo>
                <a:lnTo>
                  <a:pt x="10993818" y="0"/>
                </a:lnTo>
                <a:lnTo>
                  <a:pt x="12180849" y="4791749"/>
                </a:lnTo>
                <a:lnTo>
                  <a:pt x="0" y="479174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tIns="0" bIns="720000" anchor="ctr" anchorCtr="1">
            <a:noAutofit/>
          </a:bodyPr>
          <a:lstStyle>
            <a:lvl1pPr marL="0" indent="0" algn="ctr"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!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52184" y="4581128"/>
            <a:ext cx="4326081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6" name="Datum">
            <a:extLst>
              <a:ext uri="{FF2B5EF4-FFF2-40B4-BE49-F238E27FC236}">
                <a16:creationId xmlns:a16="http://schemas.microsoft.com/office/drawing/2014/main" id="{956632C6-6D47-E943-A0F1-C604230856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5360" y="6528216"/>
            <a:ext cx="2700000" cy="25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BD464F6F-7FC0-4123-8039-DD6F9DA8D75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7CAED1-B6BD-6AD1-AB7A-4213456757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5457684"/>
            <a:ext cx="9649072" cy="1044000"/>
          </a:xfrm>
        </p:spPr>
        <p:txBody>
          <a:bodyPr anchor="t" anchorCtr="0"/>
          <a:lstStyle>
            <a:lvl1pPr>
              <a:defRPr sz="320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3" name="Dachzeile">
            <a:extLst>
              <a:ext uri="{FF2B5EF4-FFF2-40B4-BE49-F238E27FC236}">
                <a16:creationId xmlns:a16="http://schemas.microsoft.com/office/drawing/2014/main" id="{31E2E9F2-3175-0FE6-EDA5-F0DF6BC48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5157192"/>
            <a:ext cx="6445696" cy="252000"/>
          </a:xfrm>
        </p:spPr>
        <p:txBody>
          <a:bodyPr tIns="36000" bIns="0" anchor="t" anchorCtr="0"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943645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Türkis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10AD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 descr="Ein Bild, das Symbol, Grafiken, Logo, Schrift enthält.&#10;&#10;KI-generierte Inhalte können fehlerhaft sein.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4377" y="966418"/>
            <a:ext cx="2767623" cy="2107961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rgbClr val="10ADAA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1148206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Pink-Türkis /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5A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6C2BFF95-3B64-49D1-9B75-AE0B54E63F61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/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6" y="5485331"/>
            <a:ext cx="3288984" cy="1294001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558047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Pink-Türkis /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9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986B0622-430E-41F2-9312-FCC31BFBB51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530282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Blau-Türkis /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5A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E0944465-3552-439B-A5EA-2DA1EFCE9AD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/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360543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Dunkelblau-Türkis /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5A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65012C0C-FC55-4BD8-A569-4A02A8F449BA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096844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Pink-Gold /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FF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5A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B6573234-645B-499A-BA98-FD95F979EE5F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/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6" y="5485331"/>
            <a:ext cx="3288984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329696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Pink-Gold /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>
                <a:solidFill>
                  <a:srgbClr val="10069F"/>
                </a:solidFill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10069F"/>
                </a:solidFill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FF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10069F"/>
                </a:solidFill>
              </a:endParaRPr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9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16D6E2CF-CFAA-4EAC-9318-4861580AD86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6" y="5485331"/>
            <a:ext cx="3288984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41110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Violett-Gold /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FF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5A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AC0A2AB4-0697-4841-B894-B99618B35A3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/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069353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Violett-Gold /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FF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9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C0A19D16-20B4-483B-B7E5-D039937FE9E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991684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Violett-Grün /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5A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58347DA8-7E32-42CB-8513-0618D9FF6E8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/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3999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4137709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Violett-Grün /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9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C022CA89-C22C-4BDC-B448-5643C429ED0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3999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140063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Türkis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10AD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 descr="Ein Bild, das Symbol, Grafiken, Logo, Schrift enthält.&#10;&#10;KI-generierte Inhalte können fehlerhaft sein.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4377" y="966418"/>
            <a:ext cx="2767623" cy="2107961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rgbClr val="10ADAA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4128732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Gold-Grün /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5A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1A82C443-7F68-4894-B9AE-26A0A1A1085B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/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3999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899369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Gold-Grün /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9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570F5370-5D21-4363-AA63-B82FECFDD80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3999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40133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Orange-Türkis /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5A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1B86E258-B3D5-42D8-AB3E-11DD421708B6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/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6" y="5485331"/>
            <a:ext cx="3288984" cy="1294001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934930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Orange-Türkis /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9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6312F207-E217-4C0D-8847-C736512538BA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6" y="5485331"/>
            <a:ext cx="3288984" cy="1294001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409186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Orange -Violett /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5A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540F71FF-9222-4472-9030-47BE7B86B3D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/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371845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2 | Orange -Violett /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10069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39EBCABC-DE7D-4500-B6D1-F0EA5147814E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373469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3 | Pink-Türki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C1CCDCB5-9778-42C0-8969-8BF9BEBC2C6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6" y="5485331"/>
            <a:ext cx="3288984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774902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3 | Türkis-Dunkelbla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1ABEA0C3-1229-4DB0-A20E-872CB366A86D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6" y="5485331"/>
            <a:ext cx="3288984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9435499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3 | Pink-Gol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C01B040F-1EEA-44D2-9557-EFB1D243A09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3999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8014577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3 | Gold-Violet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137CB44A-75D3-4A93-9F5A-8C5ADF4FC07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4000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344462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 Weiß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25259" y="966418"/>
            <a:ext cx="2765859" cy="2107961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chemeClr val="bg1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114993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3 | Orange-Türki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40A427EF-00B2-4B76-B2FD-748CC04B37D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E53300B-B2D8-DA00-CAF5-FD4CE1BC52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346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3 | Orange-Violet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BF28D528-62D0-4DC2-AFFF-4527F50D8944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880D7EF-8922-9AEC-D957-C74FCEF6C6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583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3 | Grün/Violet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2B9DA143-5331-4037-8B3E-DCFD64D5BE38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F0C52DE-6BA6-C373-0ABE-790F6B09E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1529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3 | Pink-Grü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394E010-74F6-73DA-9A6F-0E4B80A22187}"/>
              </a:ext>
            </a:extLst>
          </p:cNvPr>
          <p:cNvGrpSpPr/>
          <p:nvPr userDrawn="1"/>
        </p:nvGrpSpPr>
        <p:grpSpPr>
          <a:xfrm>
            <a:off x="385938" y="620688"/>
            <a:ext cx="11206444" cy="5868000"/>
            <a:chOff x="385938" y="620688"/>
            <a:chExt cx="11206444" cy="5868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BE119D9-E944-9407-8446-8409B35E0A2A}"/>
                </a:ext>
              </a:extLst>
            </p:cNvPr>
            <p:cNvSpPr/>
            <p:nvPr userDrawn="1"/>
          </p:nvSpPr>
          <p:spPr>
            <a:xfrm flipV="1">
              <a:off x="385938" y="5104235"/>
              <a:ext cx="8798001" cy="1376596"/>
            </a:xfrm>
            <a:custGeom>
              <a:avLst/>
              <a:gdLst>
                <a:gd name="connsiteX0" fmla="*/ 4763 w 8798001"/>
                <a:gd name="connsiteY0" fmla="*/ 5404 h 1376596"/>
                <a:gd name="connsiteX1" fmla="*/ 3690 w 8798001"/>
                <a:gd name="connsiteY1" fmla="*/ 578 h 1376596"/>
                <a:gd name="connsiteX2" fmla="*/ 0 w 8798001"/>
                <a:gd name="connsiteY2" fmla="*/ 0 h 1376596"/>
                <a:gd name="connsiteX3" fmla="*/ 1306178 w 8798001"/>
                <a:gd name="connsiteY3" fmla="*/ 1376596 h 1376596"/>
                <a:gd name="connsiteX4" fmla="*/ 8798001 w 8798001"/>
                <a:gd name="connsiteY4" fmla="*/ 1376596 h 1376596"/>
                <a:gd name="connsiteX5" fmla="*/ 11434 w 8798001"/>
                <a:gd name="connsiteY5" fmla="*/ 1789 h 1376596"/>
                <a:gd name="connsiteX6" fmla="*/ 12730 w 8798001"/>
                <a:gd name="connsiteY6" fmla="*/ 3089 h 1376596"/>
                <a:gd name="connsiteX7" fmla="*/ 1306178 w 8798001"/>
                <a:gd name="connsiteY7" fmla="*/ 1370007 h 13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8001" h="1376596">
                  <a:moveTo>
                    <a:pt x="4763" y="5404"/>
                  </a:moveTo>
                  <a:lnTo>
                    <a:pt x="3690" y="578"/>
                  </a:lnTo>
                  <a:lnTo>
                    <a:pt x="0" y="0"/>
                  </a:lnTo>
                  <a:close/>
                  <a:moveTo>
                    <a:pt x="1306178" y="1376596"/>
                  </a:moveTo>
                  <a:lnTo>
                    <a:pt x="8798001" y="1376596"/>
                  </a:lnTo>
                  <a:lnTo>
                    <a:pt x="11434" y="1789"/>
                  </a:lnTo>
                  <a:lnTo>
                    <a:pt x="12730" y="3089"/>
                  </a:lnTo>
                  <a:lnTo>
                    <a:pt x="1306178" y="1370007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3A31E76-10E9-1F37-0BE0-6D4461D38DB7}"/>
                </a:ext>
              </a:extLst>
            </p:cNvPr>
            <p:cNvSpPr/>
            <p:nvPr userDrawn="1"/>
          </p:nvSpPr>
          <p:spPr>
            <a:xfrm>
              <a:off x="1692382" y="643148"/>
              <a:ext cx="9900000" cy="4460321"/>
            </a:xfrm>
            <a:custGeom>
              <a:avLst/>
              <a:gdLst>
                <a:gd name="connsiteX0" fmla="*/ 0 w 9792000"/>
                <a:gd name="connsiteY0" fmla="*/ 0 h 4460321"/>
                <a:gd name="connsiteX1" fmla="*/ 9792000 w 9792000"/>
                <a:gd name="connsiteY1" fmla="*/ 0 h 4460321"/>
                <a:gd name="connsiteX2" fmla="*/ 9792000 w 9792000"/>
                <a:gd name="connsiteY2" fmla="*/ 3085293 h 4460321"/>
                <a:gd name="connsiteX3" fmla="*/ 7416000 w 9792000"/>
                <a:gd name="connsiteY3" fmla="*/ 4460321 h 4460321"/>
                <a:gd name="connsiteX4" fmla="*/ 0 w 9792000"/>
                <a:gd name="connsiteY4" fmla="*/ 4460321 h 446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92000" h="4460321">
                  <a:moveTo>
                    <a:pt x="0" y="0"/>
                  </a:moveTo>
                  <a:lnTo>
                    <a:pt x="9792000" y="0"/>
                  </a:lnTo>
                  <a:lnTo>
                    <a:pt x="9792000" y="3085293"/>
                  </a:lnTo>
                  <a:lnTo>
                    <a:pt x="7416000" y="4460321"/>
                  </a:lnTo>
                  <a:lnTo>
                    <a:pt x="0" y="446032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684438-9707-086E-FDA2-C0A5AEBAA62C}"/>
                </a:ext>
              </a:extLst>
            </p:cNvPr>
            <p:cNvSpPr/>
            <p:nvPr userDrawn="1"/>
          </p:nvSpPr>
          <p:spPr>
            <a:xfrm flipH="1">
              <a:off x="397279" y="620688"/>
              <a:ext cx="1304363" cy="5868000"/>
            </a:xfrm>
            <a:custGeom>
              <a:avLst/>
              <a:gdLst>
                <a:gd name="connsiteX0" fmla="*/ 0 w 1304363"/>
                <a:gd name="connsiteY0" fmla="*/ 0 h 5852009"/>
                <a:gd name="connsiteX1" fmla="*/ 0 w 1304363"/>
                <a:gd name="connsiteY1" fmla="*/ 4477900 h 5852009"/>
                <a:gd name="connsiteX2" fmla="*/ 1293448 w 1304363"/>
                <a:gd name="connsiteY2" fmla="*/ 5841093 h 5852009"/>
                <a:gd name="connsiteX3" fmla="*/ 1304363 w 1304363"/>
                <a:gd name="connsiteY3" fmla="*/ 5852009 h 58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363" h="5852009">
                  <a:moveTo>
                    <a:pt x="0" y="0"/>
                  </a:moveTo>
                  <a:lnTo>
                    <a:pt x="0" y="4477900"/>
                  </a:lnTo>
                  <a:lnTo>
                    <a:pt x="1293448" y="5841093"/>
                  </a:lnTo>
                  <a:lnTo>
                    <a:pt x="1304363" y="5852009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279576" y="3869913"/>
            <a:ext cx="7948043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279576" y="4365104"/>
            <a:ext cx="2676498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740C8C5B-A52C-4F76-A963-0B7167B6C7C6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279576" y="1619688"/>
            <a:ext cx="8928000" cy="2097343"/>
          </a:xfrm>
        </p:spPr>
        <p:txBody>
          <a:bodyPr anchor="t" anchorCtr="0"/>
          <a:lstStyle>
            <a:lvl1pPr>
              <a:defRPr sz="40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FC8E24-A67F-E687-4A0C-BC583D5FC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06757" y="5485331"/>
            <a:ext cx="3288982" cy="1293999"/>
          </a:xfrm>
          <a:prstGeom prst="rect">
            <a:avLst/>
          </a:prstGeom>
        </p:spPr>
      </p:pic>
      <p:sp>
        <p:nvSpPr>
          <p:cNvPr id="13" name="Dachzeile">
            <a:extLst>
              <a:ext uri="{FF2B5EF4-FFF2-40B4-BE49-F238E27FC236}">
                <a16:creationId xmlns:a16="http://schemas.microsoft.com/office/drawing/2014/main" id="{C5BE2535-D8B1-3851-07E5-A244F630460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279576" y="1267256"/>
            <a:ext cx="8928000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953516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Blau-Türkis-Pink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47663" y="5144492"/>
            <a:ext cx="2231633" cy="1700807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F5166EAF-A576-4BA5-9B34-2F0C7B271E8C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375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 Blau-Weiß-Türkis 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47664" y="5144492"/>
            <a:ext cx="2231631" cy="1700807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5089D351-4380-4388-ABAE-EB8B0D621435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5915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Pink-Weiß-Türkis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47663" y="5144492"/>
            <a:ext cx="2231633" cy="1700807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F44C2D7A-4624-4E3E-BF3E-C2D7980A2414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2398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Pink-Türkis-Weiß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47663" y="5144492"/>
            <a:ext cx="2231633" cy="1700807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6581AA76-EA06-45AD-A87A-FB21BB92E3D9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4825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Pink-Grün-Weiß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47663" y="5144492"/>
            <a:ext cx="2231633" cy="1700808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24B5D158-C7B9-4E4F-ABBC-5F7108D8F7A7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47255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Pink-Weiß-Grün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47663" y="5144492"/>
            <a:ext cx="2231633" cy="1700808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AA14A92A-3DE4-4F88-8DBD-EB40EB8483D3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71808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Blau/Dunkel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100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25260" y="967090"/>
            <a:ext cx="2765857" cy="2106617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chemeClr val="bg1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4040519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Türkis-Violett-Orange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56458" y="5157192"/>
            <a:ext cx="2231633" cy="1700807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6A217E6E-9FD9-4CEA-95E6-23DA44ADE03F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5161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Türkis-Violett-Orange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56458" y="5157192"/>
            <a:ext cx="2231633" cy="1700807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218C442B-1872-4439-A4FF-712ED37AFA7D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5387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Türkis-Violett-Grün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56458" y="5157192"/>
            <a:ext cx="2231633" cy="1700808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4228D4C2-B281-40F0-AA7E-DB685CD2E20C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1618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Türkis-Violett-Grün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56458" y="5157192"/>
            <a:ext cx="2231633" cy="1700808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6057CAC4-6BBE-4038-BB03-B799BD33EF9F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693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Violett-Grün-Orange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56458" y="5157192"/>
            <a:ext cx="2231633" cy="1700807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BF49A467-7E3F-45AA-95E7-C61B01E34327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2813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Violett-Grün-Orange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56458" y="5157192"/>
            <a:ext cx="2231633" cy="1700807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8CE5ED25-B1C3-4EE8-B662-01916138B175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48555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Grün-Pink-Orange 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47663" y="5144492"/>
            <a:ext cx="2231633" cy="1700807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F8D18100-AA69-4671-8D07-BEDC471883A2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53301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4 | Grün-Orange-Pink 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DEF9DAC-2911-1F05-69A0-7F312A017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47663" y="5144492"/>
            <a:ext cx="2231633" cy="1700807"/>
          </a:xfrm>
          <a:prstGeom prst="rect">
            <a:avLst/>
          </a:prstGeom>
        </p:spPr>
      </p:pic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457FE716-33F8-8C1E-0459-37ED19EAB889}"/>
              </a:ext>
            </a:extLst>
          </p:cNvPr>
          <p:cNvSpPr/>
          <p:nvPr userDrawn="1"/>
        </p:nvSpPr>
        <p:spPr>
          <a:xfrm>
            <a:off x="9101138" y="4448175"/>
            <a:ext cx="171450" cy="54769"/>
          </a:xfrm>
          <a:custGeom>
            <a:avLst/>
            <a:gdLst>
              <a:gd name="connsiteX0" fmla="*/ 0 w 171450"/>
              <a:gd name="connsiteY0" fmla="*/ 54769 h 54769"/>
              <a:gd name="connsiteX1" fmla="*/ 171450 w 171450"/>
              <a:gd name="connsiteY1" fmla="*/ 0 h 54769"/>
              <a:gd name="connsiteX2" fmla="*/ 0 w 171450"/>
              <a:gd name="connsiteY2" fmla="*/ 54769 h 5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54769">
                <a:moveTo>
                  <a:pt x="0" y="54769"/>
                </a:moveTo>
                <a:lnTo>
                  <a:pt x="171450" y="0"/>
                </a:lnTo>
                <a:lnTo>
                  <a:pt x="0" y="54769"/>
                </a:lnTo>
                <a:close/>
              </a:path>
            </a:pathLst>
          </a:custGeom>
          <a:solidFill>
            <a:srgbClr val="1006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3A22D3B5-5C58-C5F3-E9F6-2C999EFCCA1A}"/>
              </a:ext>
            </a:extLst>
          </p:cNvPr>
          <p:cNvGrpSpPr/>
          <p:nvPr userDrawn="1"/>
        </p:nvGrpSpPr>
        <p:grpSpPr>
          <a:xfrm>
            <a:off x="0" y="0"/>
            <a:ext cx="11780012" cy="6858000"/>
            <a:chOff x="0" y="0"/>
            <a:chExt cx="11780012" cy="685800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8FF464-6048-AD21-6861-7D7C8E9BF955}"/>
                </a:ext>
              </a:extLst>
            </p:cNvPr>
            <p:cNvSpPr/>
            <p:nvPr userDrawn="1"/>
          </p:nvSpPr>
          <p:spPr>
            <a:xfrm>
              <a:off x="0" y="14514"/>
              <a:ext cx="1440000" cy="5554800"/>
            </a:xfrm>
            <a:custGeom>
              <a:avLst/>
              <a:gdLst>
                <a:gd name="connsiteX0" fmla="*/ 1392431 w 1420792"/>
                <a:gd name="connsiteY0" fmla="*/ 0 h 5494726"/>
                <a:gd name="connsiteX1" fmla="*/ 1420792 w 1420792"/>
                <a:gd name="connsiteY1" fmla="*/ 0 h 5494726"/>
                <a:gd name="connsiteX2" fmla="*/ 1420792 w 1420792"/>
                <a:gd name="connsiteY2" fmla="*/ 4448112 h 5494726"/>
                <a:gd name="connsiteX3" fmla="*/ 0 w 1420792"/>
                <a:gd name="connsiteY3" fmla="*/ 5494726 h 5494726"/>
                <a:gd name="connsiteX4" fmla="*/ 0 w 1420792"/>
                <a:gd name="connsiteY4" fmla="*/ 1008491 h 5494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92" h="5494726">
                  <a:moveTo>
                    <a:pt x="1392431" y="0"/>
                  </a:moveTo>
                  <a:lnTo>
                    <a:pt x="1420792" y="0"/>
                  </a:lnTo>
                  <a:lnTo>
                    <a:pt x="1420792" y="4448112"/>
                  </a:lnTo>
                  <a:lnTo>
                    <a:pt x="0" y="5494726"/>
                  </a:lnTo>
                  <a:lnTo>
                    <a:pt x="0" y="1008491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F018137-E954-5200-9FE6-AB2AB06BD888}"/>
                </a:ext>
              </a:extLst>
            </p:cNvPr>
            <p:cNvSpPr/>
            <p:nvPr userDrawn="1"/>
          </p:nvSpPr>
          <p:spPr>
            <a:xfrm>
              <a:off x="1948" y="4497690"/>
              <a:ext cx="9470808" cy="2360310"/>
            </a:xfrm>
            <a:custGeom>
              <a:avLst/>
              <a:gdLst>
                <a:gd name="connsiteX0" fmla="*/ 1438712 w 9470808"/>
                <a:gd name="connsiteY0" fmla="*/ 0 h 2360310"/>
                <a:gd name="connsiteX1" fmla="*/ 9086832 w 9470808"/>
                <a:gd name="connsiteY1" fmla="*/ 0 h 2360310"/>
                <a:gd name="connsiteX2" fmla="*/ 9470808 w 9470808"/>
                <a:gd name="connsiteY2" fmla="*/ 2360310 h 2360310"/>
                <a:gd name="connsiteX3" fmla="*/ 8269008 w 9470808"/>
                <a:gd name="connsiteY3" fmla="*/ 2360310 h 2360310"/>
                <a:gd name="connsiteX4" fmla="*/ 1473798 w 9470808"/>
                <a:gd name="connsiteY4" fmla="*/ 1314097 h 2360310"/>
                <a:gd name="connsiteX5" fmla="*/ 0 w 9470808"/>
                <a:gd name="connsiteY5" fmla="*/ 1062789 h 2360310"/>
                <a:gd name="connsiteX6" fmla="*/ 0 w 9470808"/>
                <a:gd name="connsiteY6" fmla="*/ 1057110 h 23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0808" h="2360310">
                  <a:moveTo>
                    <a:pt x="1438712" y="0"/>
                  </a:moveTo>
                  <a:lnTo>
                    <a:pt x="9086832" y="0"/>
                  </a:lnTo>
                  <a:lnTo>
                    <a:pt x="9470808" y="2360310"/>
                  </a:lnTo>
                  <a:lnTo>
                    <a:pt x="8269008" y="2360310"/>
                  </a:lnTo>
                  <a:lnTo>
                    <a:pt x="1473798" y="1314097"/>
                  </a:lnTo>
                  <a:lnTo>
                    <a:pt x="0" y="1062789"/>
                  </a:lnTo>
                  <a:lnTo>
                    <a:pt x="0" y="1057110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BDDD27-E36C-DEC4-5B68-A47CBCA1357F}"/>
                </a:ext>
              </a:extLst>
            </p:cNvPr>
            <p:cNvSpPr/>
            <p:nvPr userDrawn="1"/>
          </p:nvSpPr>
          <p:spPr>
            <a:xfrm>
              <a:off x="1432380" y="0"/>
              <a:ext cx="10347632" cy="4500000"/>
            </a:xfrm>
            <a:custGeom>
              <a:avLst/>
              <a:gdLst>
                <a:gd name="connsiteX0" fmla="*/ 0 w 10347632"/>
                <a:gd name="connsiteY0" fmla="*/ 0 h 4460304"/>
                <a:gd name="connsiteX1" fmla="*/ 10347632 w 10347632"/>
                <a:gd name="connsiteY1" fmla="*/ 0 h 4460304"/>
                <a:gd name="connsiteX2" fmla="*/ 10347632 w 10347632"/>
                <a:gd name="connsiteY2" fmla="*/ 3456741 h 4460304"/>
                <a:gd name="connsiteX3" fmla="*/ 7731552 w 10347632"/>
                <a:gd name="connsiteY3" fmla="*/ 4429015 h 4460304"/>
                <a:gd name="connsiteX4" fmla="*/ 7639868 w 10347632"/>
                <a:gd name="connsiteY4" fmla="*/ 4460304 h 4460304"/>
                <a:gd name="connsiteX5" fmla="*/ 0 w 10347632"/>
                <a:gd name="connsiteY5" fmla="*/ 4460304 h 446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7632" h="4460304">
                  <a:moveTo>
                    <a:pt x="0" y="0"/>
                  </a:moveTo>
                  <a:lnTo>
                    <a:pt x="10347632" y="0"/>
                  </a:lnTo>
                  <a:lnTo>
                    <a:pt x="10347632" y="3456741"/>
                  </a:lnTo>
                  <a:lnTo>
                    <a:pt x="7731552" y="4429015"/>
                  </a:lnTo>
                  <a:lnTo>
                    <a:pt x="7639868" y="4460304"/>
                  </a:lnTo>
                  <a:lnTo>
                    <a:pt x="0" y="4460304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30E315F3-6C51-D59B-420D-7D84AE8D9594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135560" y="3183260"/>
            <a:ext cx="8064895" cy="612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4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C3C57E-E9E2-9BEE-20EF-6FCC46B6F9B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35560" y="486196"/>
            <a:ext cx="9217024" cy="2520000"/>
          </a:xfrm>
        </p:spPr>
        <p:txBody>
          <a:bodyPr anchor="t" anchorCtr="0"/>
          <a:lstStyle>
            <a:lvl1pPr>
              <a:defRPr sz="4400" spc="5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Präsentations-Titel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B51E35BF-5849-0B3D-E823-C28ABDAC332A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135560" y="3900289"/>
            <a:ext cx="251377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fld id="{DD394CE0-2957-4854-A702-049028CA8829}" type="datetime4">
              <a:rPr lang="de-DE" smtClean="0"/>
              <a:t>3. Dezember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49987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5 | Blau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1FFD5FF-C942-9FEC-196B-42ED6E8831D0}"/>
              </a:ext>
            </a:extLst>
          </p:cNvPr>
          <p:cNvGrpSpPr/>
          <p:nvPr userDrawn="1"/>
        </p:nvGrpSpPr>
        <p:grpSpPr>
          <a:xfrm>
            <a:off x="352702" y="440668"/>
            <a:ext cx="7250700" cy="5787322"/>
            <a:chOff x="352702" y="440668"/>
            <a:chExt cx="7250700" cy="578732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1FCB943-79E4-F988-AA2B-0C3414286FBE}"/>
                </a:ext>
              </a:extLst>
            </p:cNvPr>
            <p:cNvSpPr/>
            <p:nvPr userDrawn="1"/>
          </p:nvSpPr>
          <p:spPr>
            <a:xfrm flipH="1">
              <a:off x="352702" y="463854"/>
              <a:ext cx="575299" cy="5764136"/>
            </a:xfrm>
            <a:custGeom>
              <a:avLst/>
              <a:gdLst>
                <a:gd name="connsiteX0" fmla="*/ 345 w 575299"/>
                <a:gd name="connsiteY0" fmla="*/ 4154307 h 5764136"/>
                <a:gd name="connsiteX1" fmla="*/ 1484 w 575299"/>
                <a:gd name="connsiteY1" fmla="*/ 4154309 h 5764136"/>
                <a:gd name="connsiteX2" fmla="*/ 2757 w 575299"/>
                <a:gd name="connsiteY2" fmla="*/ 4157710 h 5764136"/>
                <a:gd name="connsiteX3" fmla="*/ 0 w 575299"/>
                <a:gd name="connsiteY3" fmla="*/ 0 h 5764136"/>
                <a:gd name="connsiteX4" fmla="*/ 0 w 575299"/>
                <a:gd name="connsiteY4" fmla="*/ 4154768 h 5764136"/>
                <a:gd name="connsiteX5" fmla="*/ 334737 w 575299"/>
                <a:gd name="connsiteY5" fmla="*/ 5090937 h 5764136"/>
                <a:gd name="connsiteX6" fmla="*/ 570821 w 575299"/>
                <a:gd name="connsiteY6" fmla="*/ 5764136 h 5764136"/>
                <a:gd name="connsiteX7" fmla="*/ 575299 w 575299"/>
                <a:gd name="connsiteY7" fmla="*/ 5764136 h 5764136"/>
                <a:gd name="connsiteX8" fmla="*/ 575299 w 575299"/>
                <a:gd name="connsiteY8" fmla="*/ 549851 h 576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299" h="5764136">
                  <a:moveTo>
                    <a:pt x="345" y="4154307"/>
                  </a:moveTo>
                  <a:lnTo>
                    <a:pt x="1484" y="4154309"/>
                  </a:lnTo>
                  <a:lnTo>
                    <a:pt x="2757" y="4157710"/>
                  </a:lnTo>
                  <a:close/>
                  <a:moveTo>
                    <a:pt x="0" y="0"/>
                  </a:moveTo>
                  <a:lnTo>
                    <a:pt x="0" y="4154768"/>
                  </a:lnTo>
                  <a:lnTo>
                    <a:pt x="334737" y="5090937"/>
                  </a:lnTo>
                  <a:lnTo>
                    <a:pt x="570821" y="5764136"/>
                  </a:lnTo>
                  <a:lnTo>
                    <a:pt x="575299" y="5764136"/>
                  </a:lnTo>
                  <a:lnTo>
                    <a:pt x="575299" y="549851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B2BCC82-D8D8-D92A-84BA-A0D59FE41087}"/>
                </a:ext>
              </a:extLst>
            </p:cNvPr>
            <p:cNvSpPr/>
            <p:nvPr userDrawn="1"/>
          </p:nvSpPr>
          <p:spPr>
            <a:xfrm>
              <a:off x="356915" y="4589820"/>
              <a:ext cx="5869251" cy="1611488"/>
            </a:xfrm>
            <a:custGeom>
              <a:avLst/>
              <a:gdLst>
                <a:gd name="connsiteX0" fmla="*/ 572649 w 5869251"/>
                <a:gd name="connsiteY0" fmla="*/ 9328 h 1611488"/>
                <a:gd name="connsiteX1" fmla="*/ 570237 w 5869251"/>
                <a:gd name="connsiteY1" fmla="*/ 12702 h 1611488"/>
                <a:gd name="connsiteX2" fmla="*/ 571510 w 5869251"/>
                <a:gd name="connsiteY2" fmla="*/ 9330 h 1611488"/>
                <a:gd name="connsiteX3" fmla="*/ 5869251 w 5869251"/>
                <a:gd name="connsiteY3" fmla="*/ 0 h 1611488"/>
                <a:gd name="connsiteX4" fmla="*/ 0 w 5869251"/>
                <a:gd name="connsiteY4" fmla="*/ 1611488 h 1611488"/>
                <a:gd name="connsiteX5" fmla="*/ 238257 w 5869251"/>
                <a:gd name="connsiteY5" fmla="*/ 937921 h 1611488"/>
                <a:gd name="connsiteX6" fmla="*/ 573159 w 5869251"/>
                <a:gd name="connsiteY6" fmla="*/ 9327 h 161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251" h="1611488">
                  <a:moveTo>
                    <a:pt x="572649" y="9328"/>
                  </a:moveTo>
                  <a:lnTo>
                    <a:pt x="570237" y="12702"/>
                  </a:lnTo>
                  <a:lnTo>
                    <a:pt x="571510" y="9330"/>
                  </a:lnTo>
                  <a:close/>
                  <a:moveTo>
                    <a:pt x="5869251" y="0"/>
                  </a:moveTo>
                  <a:lnTo>
                    <a:pt x="0" y="1611488"/>
                  </a:lnTo>
                  <a:lnTo>
                    <a:pt x="238257" y="937921"/>
                  </a:lnTo>
                  <a:lnTo>
                    <a:pt x="573159" y="9327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E18F161-788C-179C-3A31-C8C7384B0528}"/>
                </a:ext>
              </a:extLst>
            </p:cNvPr>
            <p:cNvSpPr/>
            <p:nvPr userDrawn="1"/>
          </p:nvSpPr>
          <p:spPr>
            <a:xfrm>
              <a:off x="936638" y="440668"/>
              <a:ext cx="6666764" cy="4159638"/>
            </a:xfrm>
            <a:custGeom>
              <a:avLst/>
              <a:gdLst>
                <a:gd name="connsiteX0" fmla="*/ 0 w 6666764"/>
                <a:gd name="connsiteY0" fmla="*/ 0 h 4159638"/>
                <a:gd name="connsiteX1" fmla="*/ 6666764 w 6666764"/>
                <a:gd name="connsiteY1" fmla="*/ 0 h 4159638"/>
                <a:gd name="connsiteX2" fmla="*/ 6666764 w 6666764"/>
                <a:gd name="connsiteY2" fmla="*/ 3216515 h 4159638"/>
                <a:gd name="connsiteX3" fmla="*/ 5287621 w 6666764"/>
                <a:gd name="connsiteY3" fmla="*/ 4159638 h 4159638"/>
                <a:gd name="connsiteX4" fmla="*/ 0 w 6666764"/>
                <a:gd name="connsiteY4" fmla="*/ 4159638 h 415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6764" h="4159638">
                  <a:moveTo>
                    <a:pt x="0" y="0"/>
                  </a:moveTo>
                  <a:lnTo>
                    <a:pt x="6666764" y="0"/>
                  </a:lnTo>
                  <a:lnTo>
                    <a:pt x="6666764" y="3216515"/>
                  </a:lnTo>
                  <a:lnTo>
                    <a:pt x="5287621" y="4159638"/>
                  </a:lnTo>
                  <a:lnTo>
                    <a:pt x="0" y="4159638"/>
                  </a:lnTo>
                  <a:close/>
                </a:path>
              </a:pathLst>
            </a:custGeom>
            <a:solidFill>
              <a:srgbClr val="FFFFF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FFAD00"/>
                </a:solidFill>
              </a:endParaRPr>
            </a:p>
          </p:txBody>
        </p:sp>
      </p:grp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8BD1A78E-41E4-1192-8B8B-EDAC2DF849C1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-3294" y="-3"/>
            <a:ext cx="12192989" cy="6858003"/>
          </a:xfrm>
          <a:custGeom>
            <a:avLst/>
            <a:gdLst>
              <a:gd name="connsiteX0" fmla="*/ 939930 w 12192989"/>
              <a:gd name="connsiteY0" fmla="*/ 505096 h 6858003"/>
              <a:gd name="connsiteX1" fmla="*/ 939930 w 12192989"/>
              <a:gd name="connsiteY1" fmla="*/ 505097 h 6858003"/>
              <a:gd name="connsiteX2" fmla="*/ 934404 w 12192989"/>
              <a:gd name="connsiteY2" fmla="*/ 505097 h 6858003"/>
              <a:gd name="connsiteX3" fmla="*/ 410704 w 12192989"/>
              <a:gd name="connsiteY3" fmla="*/ 1027607 h 6858003"/>
              <a:gd name="connsiteX4" fmla="*/ 410704 w 12192989"/>
              <a:gd name="connsiteY4" fmla="*/ 6040812 h 6858003"/>
              <a:gd name="connsiteX5" fmla="*/ 410706 w 12192989"/>
              <a:gd name="connsiteY5" fmla="*/ 6040812 h 6858003"/>
              <a:gd name="connsiteX6" fmla="*/ 410706 w 12192989"/>
              <a:gd name="connsiteY6" fmla="*/ 6040813 h 6858003"/>
              <a:gd name="connsiteX7" fmla="*/ 419318 w 12192989"/>
              <a:gd name="connsiteY7" fmla="*/ 6038787 h 6858003"/>
              <a:gd name="connsiteX8" fmla="*/ 416006 w 12192989"/>
              <a:gd name="connsiteY8" fmla="*/ 6048109 h 6858003"/>
              <a:gd name="connsiteX9" fmla="*/ 425767 w 12192989"/>
              <a:gd name="connsiteY9" fmla="*/ 6045617 h 6858003"/>
              <a:gd name="connsiteX10" fmla="*/ 424882 w 12192989"/>
              <a:gd name="connsiteY10" fmla="*/ 6048108 h 6858003"/>
              <a:gd name="connsiteX11" fmla="*/ 6095432 w 12192989"/>
              <a:gd name="connsiteY11" fmla="*/ 4600308 h 6858003"/>
              <a:gd name="connsiteX12" fmla="*/ 6084867 w 12192989"/>
              <a:gd name="connsiteY12" fmla="*/ 4600308 h 6858003"/>
              <a:gd name="connsiteX13" fmla="*/ 7513412 w 12192989"/>
              <a:gd name="connsiteY13" fmla="*/ 3642276 h 6858003"/>
              <a:gd name="connsiteX14" fmla="*/ 7513412 w 12192989"/>
              <a:gd name="connsiteY14" fmla="*/ 505097 h 6858003"/>
              <a:gd name="connsiteX15" fmla="*/ 7513410 w 12192989"/>
              <a:gd name="connsiteY15" fmla="*/ 505097 h 6858003"/>
              <a:gd name="connsiteX16" fmla="*/ 7513410 w 12192989"/>
              <a:gd name="connsiteY16" fmla="*/ 505096 h 6858003"/>
              <a:gd name="connsiteX17" fmla="*/ 0 w 12192989"/>
              <a:gd name="connsiteY17" fmla="*/ 0 h 6858003"/>
              <a:gd name="connsiteX18" fmla="*/ 12192989 w 12192989"/>
              <a:gd name="connsiteY18" fmla="*/ 0 h 6858003"/>
              <a:gd name="connsiteX19" fmla="*/ 12192989 w 12192989"/>
              <a:gd name="connsiteY19" fmla="*/ 6858003 h 6858003"/>
              <a:gd name="connsiteX20" fmla="*/ 0 w 12192989"/>
              <a:gd name="connsiteY2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989" h="6858003">
                <a:moveTo>
                  <a:pt x="939930" y="505096"/>
                </a:moveTo>
                <a:lnTo>
                  <a:pt x="939930" y="505097"/>
                </a:lnTo>
                <a:lnTo>
                  <a:pt x="934404" y="505097"/>
                </a:lnTo>
                <a:lnTo>
                  <a:pt x="410704" y="1027607"/>
                </a:lnTo>
                <a:lnTo>
                  <a:pt x="410704" y="6040812"/>
                </a:lnTo>
                <a:lnTo>
                  <a:pt x="410706" y="6040812"/>
                </a:lnTo>
                <a:lnTo>
                  <a:pt x="410706" y="6040813"/>
                </a:lnTo>
                <a:lnTo>
                  <a:pt x="419318" y="6038787"/>
                </a:lnTo>
                <a:lnTo>
                  <a:pt x="416006" y="6048109"/>
                </a:lnTo>
                <a:lnTo>
                  <a:pt x="425767" y="6045617"/>
                </a:lnTo>
                <a:lnTo>
                  <a:pt x="424882" y="6048108"/>
                </a:lnTo>
                <a:lnTo>
                  <a:pt x="6095432" y="4600308"/>
                </a:lnTo>
                <a:lnTo>
                  <a:pt x="6084867" y="4600308"/>
                </a:lnTo>
                <a:lnTo>
                  <a:pt x="7513412" y="3642276"/>
                </a:lnTo>
                <a:lnTo>
                  <a:pt x="7513412" y="505097"/>
                </a:lnTo>
                <a:lnTo>
                  <a:pt x="7513410" y="505097"/>
                </a:lnTo>
                <a:lnTo>
                  <a:pt x="7513410" y="505096"/>
                </a:lnTo>
                <a:close/>
                <a:moveTo>
                  <a:pt x="0" y="0"/>
                </a:moveTo>
                <a:lnTo>
                  <a:pt x="12192989" y="0"/>
                </a:lnTo>
                <a:lnTo>
                  <a:pt x="12192989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1908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0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14" name="Datum">
            <a:extLst>
              <a:ext uri="{FF2B5EF4-FFF2-40B4-BE49-F238E27FC236}">
                <a16:creationId xmlns:a16="http://schemas.microsoft.com/office/drawing/2014/main" id="{5C925C1E-4C03-9068-9416-6E2EB601066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363921" y="4154408"/>
            <a:ext cx="3928185" cy="26445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5394D8B7-FF25-45C8-99A4-879BE8757EC9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3AF548F-F28E-8DCE-BD22-EAFF714734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363921" y="1378862"/>
            <a:ext cx="5812199" cy="2617917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Präsentations-Titel oder 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Dachzeile">
            <a:extLst>
              <a:ext uri="{FF2B5EF4-FFF2-40B4-BE49-F238E27FC236}">
                <a16:creationId xmlns:a16="http://schemas.microsoft.com/office/drawing/2014/main" id="{C3FB2B13-2346-4892-983B-6BC336FAE66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63921" y="1016768"/>
            <a:ext cx="5812199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2232546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5 | Pink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1FFD5FF-C942-9FEC-196B-42ED6E8831D0}"/>
              </a:ext>
            </a:extLst>
          </p:cNvPr>
          <p:cNvGrpSpPr/>
          <p:nvPr userDrawn="1"/>
        </p:nvGrpSpPr>
        <p:grpSpPr>
          <a:xfrm>
            <a:off x="352702" y="440668"/>
            <a:ext cx="7250700" cy="5787322"/>
            <a:chOff x="352702" y="440668"/>
            <a:chExt cx="7250700" cy="578732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1FCB943-79E4-F988-AA2B-0C3414286FBE}"/>
                </a:ext>
              </a:extLst>
            </p:cNvPr>
            <p:cNvSpPr/>
            <p:nvPr userDrawn="1"/>
          </p:nvSpPr>
          <p:spPr>
            <a:xfrm flipH="1">
              <a:off x="352702" y="463854"/>
              <a:ext cx="575299" cy="5764136"/>
            </a:xfrm>
            <a:custGeom>
              <a:avLst/>
              <a:gdLst>
                <a:gd name="connsiteX0" fmla="*/ 345 w 575299"/>
                <a:gd name="connsiteY0" fmla="*/ 4154307 h 5764136"/>
                <a:gd name="connsiteX1" fmla="*/ 1484 w 575299"/>
                <a:gd name="connsiteY1" fmla="*/ 4154309 h 5764136"/>
                <a:gd name="connsiteX2" fmla="*/ 2757 w 575299"/>
                <a:gd name="connsiteY2" fmla="*/ 4157710 h 5764136"/>
                <a:gd name="connsiteX3" fmla="*/ 0 w 575299"/>
                <a:gd name="connsiteY3" fmla="*/ 0 h 5764136"/>
                <a:gd name="connsiteX4" fmla="*/ 0 w 575299"/>
                <a:gd name="connsiteY4" fmla="*/ 4154768 h 5764136"/>
                <a:gd name="connsiteX5" fmla="*/ 334737 w 575299"/>
                <a:gd name="connsiteY5" fmla="*/ 5090937 h 5764136"/>
                <a:gd name="connsiteX6" fmla="*/ 570821 w 575299"/>
                <a:gd name="connsiteY6" fmla="*/ 5764136 h 5764136"/>
                <a:gd name="connsiteX7" fmla="*/ 575299 w 575299"/>
                <a:gd name="connsiteY7" fmla="*/ 5764136 h 5764136"/>
                <a:gd name="connsiteX8" fmla="*/ 575299 w 575299"/>
                <a:gd name="connsiteY8" fmla="*/ 549851 h 576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299" h="5764136">
                  <a:moveTo>
                    <a:pt x="345" y="4154307"/>
                  </a:moveTo>
                  <a:lnTo>
                    <a:pt x="1484" y="4154309"/>
                  </a:lnTo>
                  <a:lnTo>
                    <a:pt x="2757" y="4157710"/>
                  </a:lnTo>
                  <a:close/>
                  <a:moveTo>
                    <a:pt x="0" y="0"/>
                  </a:moveTo>
                  <a:lnTo>
                    <a:pt x="0" y="4154768"/>
                  </a:lnTo>
                  <a:lnTo>
                    <a:pt x="334737" y="5090937"/>
                  </a:lnTo>
                  <a:lnTo>
                    <a:pt x="570821" y="5764136"/>
                  </a:lnTo>
                  <a:lnTo>
                    <a:pt x="575299" y="5764136"/>
                  </a:lnTo>
                  <a:lnTo>
                    <a:pt x="575299" y="549851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B2BCC82-D8D8-D92A-84BA-A0D59FE41087}"/>
                </a:ext>
              </a:extLst>
            </p:cNvPr>
            <p:cNvSpPr/>
            <p:nvPr userDrawn="1"/>
          </p:nvSpPr>
          <p:spPr>
            <a:xfrm>
              <a:off x="356915" y="4589820"/>
              <a:ext cx="5869251" cy="1611488"/>
            </a:xfrm>
            <a:custGeom>
              <a:avLst/>
              <a:gdLst>
                <a:gd name="connsiteX0" fmla="*/ 572649 w 5869251"/>
                <a:gd name="connsiteY0" fmla="*/ 9328 h 1611488"/>
                <a:gd name="connsiteX1" fmla="*/ 570237 w 5869251"/>
                <a:gd name="connsiteY1" fmla="*/ 12702 h 1611488"/>
                <a:gd name="connsiteX2" fmla="*/ 571510 w 5869251"/>
                <a:gd name="connsiteY2" fmla="*/ 9330 h 1611488"/>
                <a:gd name="connsiteX3" fmla="*/ 5869251 w 5869251"/>
                <a:gd name="connsiteY3" fmla="*/ 0 h 1611488"/>
                <a:gd name="connsiteX4" fmla="*/ 0 w 5869251"/>
                <a:gd name="connsiteY4" fmla="*/ 1611488 h 1611488"/>
                <a:gd name="connsiteX5" fmla="*/ 238257 w 5869251"/>
                <a:gd name="connsiteY5" fmla="*/ 937921 h 1611488"/>
                <a:gd name="connsiteX6" fmla="*/ 573159 w 5869251"/>
                <a:gd name="connsiteY6" fmla="*/ 9327 h 161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251" h="1611488">
                  <a:moveTo>
                    <a:pt x="572649" y="9328"/>
                  </a:moveTo>
                  <a:lnTo>
                    <a:pt x="570237" y="12702"/>
                  </a:lnTo>
                  <a:lnTo>
                    <a:pt x="571510" y="9330"/>
                  </a:lnTo>
                  <a:close/>
                  <a:moveTo>
                    <a:pt x="5869251" y="0"/>
                  </a:moveTo>
                  <a:lnTo>
                    <a:pt x="0" y="1611488"/>
                  </a:lnTo>
                  <a:lnTo>
                    <a:pt x="238257" y="937921"/>
                  </a:lnTo>
                  <a:lnTo>
                    <a:pt x="573159" y="9327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E18F161-788C-179C-3A31-C8C7384B0528}"/>
                </a:ext>
              </a:extLst>
            </p:cNvPr>
            <p:cNvSpPr/>
            <p:nvPr userDrawn="1"/>
          </p:nvSpPr>
          <p:spPr>
            <a:xfrm>
              <a:off x="936638" y="440668"/>
              <a:ext cx="6666764" cy="4159638"/>
            </a:xfrm>
            <a:custGeom>
              <a:avLst/>
              <a:gdLst>
                <a:gd name="connsiteX0" fmla="*/ 0 w 6666764"/>
                <a:gd name="connsiteY0" fmla="*/ 0 h 4159638"/>
                <a:gd name="connsiteX1" fmla="*/ 6666764 w 6666764"/>
                <a:gd name="connsiteY1" fmla="*/ 0 h 4159638"/>
                <a:gd name="connsiteX2" fmla="*/ 6666764 w 6666764"/>
                <a:gd name="connsiteY2" fmla="*/ 3216515 h 4159638"/>
                <a:gd name="connsiteX3" fmla="*/ 5287621 w 6666764"/>
                <a:gd name="connsiteY3" fmla="*/ 4159638 h 4159638"/>
                <a:gd name="connsiteX4" fmla="*/ 0 w 6666764"/>
                <a:gd name="connsiteY4" fmla="*/ 4159638 h 415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6764" h="4159638">
                  <a:moveTo>
                    <a:pt x="0" y="0"/>
                  </a:moveTo>
                  <a:lnTo>
                    <a:pt x="6666764" y="0"/>
                  </a:lnTo>
                  <a:lnTo>
                    <a:pt x="6666764" y="3216515"/>
                  </a:lnTo>
                  <a:lnTo>
                    <a:pt x="5287621" y="4159638"/>
                  </a:lnTo>
                  <a:lnTo>
                    <a:pt x="0" y="4159638"/>
                  </a:lnTo>
                  <a:close/>
                </a:path>
              </a:pathLst>
            </a:custGeom>
            <a:solidFill>
              <a:srgbClr val="FFFFF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FFAD00"/>
                </a:solidFill>
              </a:endParaRPr>
            </a:p>
          </p:txBody>
        </p:sp>
      </p:grp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8BD1A78E-41E4-1192-8B8B-EDAC2DF849C1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-3294" y="-3"/>
            <a:ext cx="12192989" cy="6858003"/>
          </a:xfrm>
          <a:custGeom>
            <a:avLst/>
            <a:gdLst>
              <a:gd name="connsiteX0" fmla="*/ 939930 w 12192989"/>
              <a:gd name="connsiteY0" fmla="*/ 505096 h 6858003"/>
              <a:gd name="connsiteX1" fmla="*/ 939930 w 12192989"/>
              <a:gd name="connsiteY1" fmla="*/ 505097 h 6858003"/>
              <a:gd name="connsiteX2" fmla="*/ 934404 w 12192989"/>
              <a:gd name="connsiteY2" fmla="*/ 505097 h 6858003"/>
              <a:gd name="connsiteX3" fmla="*/ 410704 w 12192989"/>
              <a:gd name="connsiteY3" fmla="*/ 1027607 h 6858003"/>
              <a:gd name="connsiteX4" fmla="*/ 410704 w 12192989"/>
              <a:gd name="connsiteY4" fmla="*/ 6040812 h 6858003"/>
              <a:gd name="connsiteX5" fmla="*/ 410706 w 12192989"/>
              <a:gd name="connsiteY5" fmla="*/ 6040812 h 6858003"/>
              <a:gd name="connsiteX6" fmla="*/ 410706 w 12192989"/>
              <a:gd name="connsiteY6" fmla="*/ 6040813 h 6858003"/>
              <a:gd name="connsiteX7" fmla="*/ 419318 w 12192989"/>
              <a:gd name="connsiteY7" fmla="*/ 6038787 h 6858003"/>
              <a:gd name="connsiteX8" fmla="*/ 416006 w 12192989"/>
              <a:gd name="connsiteY8" fmla="*/ 6048109 h 6858003"/>
              <a:gd name="connsiteX9" fmla="*/ 425767 w 12192989"/>
              <a:gd name="connsiteY9" fmla="*/ 6045617 h 6858003"/>
              <a:gd name="connsiteX10" fmla="*/ 424882 w 12192989"/>
              <a:gd name="connsiteY10" fmla="*/ 6048108 h 6858003"/>
              <a:gd name="connsiteX11" fmla="*/ 6095432 w 12192989"/>
              <a:gd name="connsiteY11" fmla="*/ 4600308 h 6858003"/>
              <a:gd name="connsiteX12" fmla="*/ 6084867 w 12192989"/>
              <a:gd name="connsiteY12" fmla="*/ 4600308 h 6858003"/>
              <a:gd name="connsiteX13" fmla="*/ 7513412 w 12192989"/>
              <a:gd name="connsiteY13" fmla="*/ 3642276 h 6858003"/>
              <a:gd name="connsiteX14" fmla="*/ 7513412 w 12192989"/>
              <a:gd name="connsiteY14" fmla="*/ 505097 h 6858003"/>
              <a:gd name="connsiteX15" fmla="*/ 7513410 w 12192989"/>
              <a:gd name="connsiteY15" fmla="*/ 505097 h 6858003"/>
              <a:gd name="connsiteX16" fmla="*/ 7513410 w 12192989"/>
              <a:gd name="connsiteY16" fmla="*/ 505096 h 6858003"/>
              <a:gd name="connsiteX17" fmla="*/ 0 w 12192989"/>
              <a:gd name="connsiteY17" fmla="*/ 0 h 6858003"/>
              <a:gd name="connsiteX18" fmla="*/ 12192989 w 12192989"/>
              <a:gd name="connsiteY18" fmla="*/ 0 h 6858003"/>
              <a:gd name="connsiteX19" fmla="*/ 12192989 w 12192989"/>
              <a:gd name="connsiteY19" fmla="*/ 6858003 h 6858003"/>
              <a:gd name="connsiteX20" fmla="*/ 0 w 12192989"/>
              <a:gd name="connsiteY2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989" h="6858003">
                <a:moveTo>
                  <a:pt x="939930" y="505096"/>
                </a:moveTo>
                <a:lnTo>
                  <a:pt x="939930" y="505097"/>
                </a:lnTo>
                <a:lnTo>
                  <a:pt x="934404" y="505097"/>
                </a:lnTo>
                <a:lnTo>
                  <a:pt x="410704" y="1027607"/>
                </a:lnTo>
                <a:lnTo>
                  <a:pt x="410704" y="6040812"/>
                </a:lnTo>
                <a:lnTo>
                  <a:pt x="410706" y="6040812"/>
                </a:lnTo>
                <a:lnTo>
                  <a:pt x="410706" y="6040813"/>
                </a:lnTo>
                <a:lnTo>
                  <a:pt x="419318" y="6038787"/>
                </a:lnTo>
                <a:lnTo>
                  <a:pt x="416006" y="6048109"/>
                </a:lnTo>
                <a:lnTo>
                  <a:pt x="425767" y="6045617"/>
                </a:lnTo>
                <a:lnTo>
                  <a:pt x="424882" y="6048108"/>
                </a:lnTo>
                <a:lnTo>
                  <a:pt x="6095432" y="4600308"/>
                </a:lnTo>
                <a:lnTo>
                  <a:pt x="6084867" y="4600308"/>
                </a:lnTo>
                <a:lnTo>
                  <a:pt x="7513412" y="3642276"/>
                </a:lnTo>
                <a:lnTo>
                  <a:pt x="7513412" y="505097"/>
                </a:lnTo>
                <a:lnTo>
                  <a:pt x="7513410" y="505097"/>
                </a:lnTo>
                <a:lnTo>
                  <a:pt x="7513410" y="505096"/>
                </a:lnTo>
                <a:close/>
                <a:moveTo>
                  <a:pt x="0" y="0"/>
                </a:moveTo>
                <a:lnTo>
                  <a:pt x="12192989" y="0"/>
                </a:lnTo>
                <a:lnTo>
                  <a:pt x="12192989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1908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0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14" name="Datum">
            <a:extLst>
              <a:ext uri="{FF2B5EF4-FFF2-40B4-BE49-F238E27FC236}">
                <a16:creationId xmlns:a16="http://schemas.microsoft.com/office/drawing/2014/main" id="{5C925C1E-4C03-9068-9416-6E2EB601066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363921" y="4154408"/>
            <a:ext cx="3928185" cy="26445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35DDD664-30A1-4FDF-BE76-7E97B55A439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3AF548F-F28E-8DCE-BD22-EAFF714734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363921" y="1378862"/>
            <a:ext cx="5812199" cy="2617917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Präsentations-Titel oder 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Dachzeile">
            <a:extLst>
              <a:ext uri="{FF2B5EF4-FFF2-40B4-BE49-F238E27FC236}">
                <a16:creationId xmlns:a16="http://schemas.microsoft.com/office/drawing/2014/main" id="{C3FB2B13-2346-4892-983B-6BC336FAE66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63921" y="1016768"/>
            <a:ext cx="5812199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159437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Violett/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8C3E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25259" y="966418"/>
            <a:ext cx="2765859" cy="2107960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rgbClr val="8C3E9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4176317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5 | Pink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1FFD5FF-C942-9FEC-196B-42ED6E8831D0}"/>
              </a:ext>
            </a:extLst>
          </p:cNvPr>
          <p:cNvGrpSpPr/>
          <p:nvPr userDrawn="1"/>
        </p:nvGrpSpPr>
        <p:grpSpPr>
          <a:xfrm>
            <a:off x="352702" y="440668"/>
            <a:ext cx="7250700" cy="5787322"/>
            <a:chOff x="352702" y="440668"/>
            <a:chExt cx="7250700" cy="578732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1FCB943-79E4-F988-AA2B-0C3414286FBE}"/>
                </a:ext>
              </a:extLst>
            </p:cNvPr>
            <p:cNvSpPr/>
            <p:nvPr userDrawn="1"/>
          </p:nvSpPr>
          <p:spPr>
            <a:xfrm flipH="1">
              <a:off x="352702" y="463854"/>
              <a:ext cx="575299" cy="5764136"/>
            </a:xfrm>
            <a:custGeom>
              <a:avLst/>
              <a:gdLst>
                <a:gd name="connsiteX0" fmla="*/ 345 w 575299"/>
                <a:gd name="connsiteY0" fmla="*/ 4154307 h 5764136"/>
                <a:gd name="connsiteX1" fmla="*/ 1484 w 575299"/>
                <a:gd name="connsiteY1" fmla="*/ 4154309 h 5764136"/>
                <a:gd name="connsiteX2" fmla="*/ 2757 w 575299"/>
                <a:gd name="connsiteY2" fmla="*/ 4157710 h 5764136"/>
                <a:gd name="connsiteX3" fmla="*/ 0 w 575299"/>
                <a:gd name="connsiteY3" fmla="*/ 0 h 5764136"/>
                <a:gd name="connsiteX4" fmla="*/ 0 w 575299"/>
                <a:gd name="connsiteY4" fmla="*/ 4154768 h 5764136"/>
                <a:gd name="connsiteX5" fmla="*/ 334737 w 575299"/>
                <a:gd name="connsiteY5" fmla="*/ 5090937 h 5764136"/>
                <a:gd name="connsiteX6" fmla="*/ 570821 w 575299"/>
                <a:gd name="connsiteY6" fmla="*/ 5764136 h 5764136"/>
                <a:gd name="connsiteX7" fmla="*/ 575299 w 575299"/>
                <a:gd name="connsiteY7" fmla="*/ 5764136 h 5764136"/>
                <a:gd name="connsiteX8" fmla="*/ 575299 w 575299"/>
                <a:gd name="connsiteY8" fmla="*/ 549851 h 576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299" h="5764136">
                  <a:moveTo>
                    <a:pt x="345" y="4154307"/>
                  </a:moveTo>
                  <a:lnTo>
                    <a:pt x="1484" y="4154309"/>
                  </a:lnTo>
                  <a:lnTo>
                    <a:pt x="2757" y="4157710"/>
                  </a:lnTo>
                  <a:close/>
                  <a:moveTo>
                    <a:pt x="0" y="0"/>
                  </a:moveTo>
                  <a:lnTo>
                    <a:pt x="0" y="4154768"/>
                  </a:lnTo>
                  <a:lnTo>
                    <a:pt x="334737" y="5090937"/>
                  </a:lnTo>
                  <a:lnTo>
                    <a:pt x="570821" y="5764136"/>
                  </a:lnTo>
                  <a:lnTo>
                    <a:pt x="575299" y="5764136"/>
                  </a:lnTo>
                  <a:lnTo>
                    <a:pt x="575299" y="54985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B2BCC82-D8D8-D92A-84BA-A0D59FE41087}"/>
                </a:ext>
              </a:extLst>
            </p:cNvPr>
            <p:cNvSpPr/>
            <p:nvPr userDrawn="1"/>
          </p:nvSpPr>
          <p:spPr>
            <a:xfrm>
              <a:off x="356915" y="4589820"/>
              <a:ext cx="5869251" cy="1611488"/>
            </a:xfrm>
            <a:custGeom>
              <a:avLst/>
              <a:gdLst>
                <a:gd name="connsiteX0" fmla="*/ 572649 w 5869251"/>
                <a:gd name="connsiteY0" fmla="*/ 9328 h 1611488"/>
                <a:gd name="connsiteX1" fmla="*/ 570237 w 5869251"/>
                <a:gd name="connsiteY1" fmla="*/ 12702 h 1611488"/>
                <a:gd name="connsiteX2" fmla="*/ 571510 w 5869251"/>
                <a:gd name="connsiteY2" fmla="*/ 9330 h 1611488"/>
                <a:gd name="connsiteX3" fmla="*/ 5869251 w 5869251"/>
                <a:gd name="connsiteY3" fmla="*/ 0 h 1611488"/>
                <a:gd name="connsiteX4" fmla="*/ 0 w 5869251"/>
                <a:gd name="connsiteY4" fmla="*/ 1611488 h 1611488"/>
                <a:gd name="connsiteX5" fmla="*/ 238257 w 5869251"/>
                <a:gd name="connsiteY5" fmla="*/ 937921 h 1611488"/>
                <a:gd name="connsiteX6" fmla="*/ 573159 w 5869251"/>
                <a:gd name="connsiteY6" fmla="*/ 9327 h 161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251" h="1611488">
                  <a:moveTo>
                    <a:pt x="572649" y="9328"/>
                  </a:moveTo>
                  <a:lnTo>
                    <a:pt x="570237" y="12702"/>
                  </a:lnTo>
                  <a:lnTo>
                    <a:pt x="571510" y="9330"/>
                  </a:lnTo>
                  <a:close/>
                  <a:moveTo>
                    <a:pt x="5869251" y="0"/>
                  </a:moveTo>
                  <a:lnTo>
                    <a:pt x="0" y="1611488"/>
                  </a:lnTo>
                  <a:lnTo>
                    <a:pt x="238257" y="937921"/>
                  </a:lnTo>
                  <a:lnTo>
                    <a:pt x="573159" y="9327"/>
                  </a:lnTo>
                  <a:close/>
                </a:path>
              </a:pathLst>
            </a:custGeom>
            <a:solidFill>
              <a:srgbClr val="FF3EB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E18F161-788C-179C-3A31-C8C7384B0528}"/>
                </a:ext>
              </a:extLst>
            </p:cNvPr>
            <p:cNvSpPr/>
            <p:nvPr userDrawn="1"/>
          </p:nvSpPr>
          <p:spPr>
            <a:xfrm>
              <a:off x="936638" y="440668"/>
              <a:ext cx="6666764" cy="4159638"/>
            </a:xfrm>
            <a:custGeom>
              <a:avLst/>
              <a:gdLst>
                <a:gd name="connsiteX0" fmla="*/ 0 w 6666764"/>
                <a:gd name="connsiteY0" fmla="*/ 0 h 4159638"/>
                <a:gd name="connsiteX1" fmla="*/ 6666764 w 6666764"/>
                <a:gd name="connsiteY1" fmla="*/ 0 h 4159638"/>
                <a:gd name="connsiteX2" fmla="*/ 6666764 w 6666764"/>
                <a:gd name="connsiteY2" fmla="*/ 3216515 h 4159638"/>
                <a:gd name="connsiteX3" fmla="*/ 5287621 w 6666764"/>
                <a:gd name="connsiteY3" fmla="*/ 4159638 h 4159638"/>
                <a:gd name="connsiteX4" fmla="*/ 0 w 6666764"/>
                <a:gd name="connsiteY4" fmla="*/ 4159638 h 415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6764" h="4159638">
                  <a:moveTo>
                    <a:pt x="0" y="0"/>
                  </a:moveTo>
                  <a:lnTo>
                    <a:pt x="6666764" y="0"/>
                  </a:lnTo>
                  <a:lnTo>
                    <a:pt x="6666764" y="3216515"/>
                  </a:lnTo>
                  <a:lnTo>
                    <a:pt x="5287621" y="4159638"/>
                  </a:lnTo>
                  <a:lnTo>
                    <a:pt x="0" y="4159638"/>
                  </a:lnTo>
                  <a:close/>
                </a:path>
              </a:pathLst>
            </a:custGeom>
            <a:solidFill>
              <a:srgbClr val="FFFFF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FFAD00"/>
                </a:solidFill>
              </a:endParaRPr>
            </a:p>
          </p:txBody>
        </p:sp>
      </p:grp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8BD1A78E-41E4-1192-8B8B-EDAC2DF849C1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-3294" y="-3"/>
            <a:ext cx="12192989" cy="6858003"/>
          </a:xfrm>
          <a:custGeom>
            <a:avLst/>
            <a:gdLst>
              <a:gd name="connsiteX0" fmla="*/ 939930 w 12192989"/>
              <a:gd name="connsiteY0" fmla="*/ 505096 h 6858003"/>
              <a:gd name="connsiteX1" fmla="*/ 939930 w 12192989"/>
              <a:gd name="connsiteY1" fmla="*/ 505097 h 6858003"/>
              <a:gd name="connsiteX2" fmla="*/ 934404 w 12192989"/>
              <a:gd name="connsiteY2" fmla="*/ 505097 h 6858003"/>
              <a:gd name="connsiteX3" fmla="*/ 410704 w 12192989"/>
              <a:gd name="connsiteY3" fmla="*/ 1027607 h 6858003"/>
              <a:gd name="connsiteX4" fmla="*/ 410704 w 12192989"/>
              <a:gd name="connsiteY4" fmla="*/ 6040812 h 6858003"/>
              <a:gd name="connsiteX5" fmla="*/ 410706 w 12192989"/>
              <a:gd name="connsiteY5" fmla="*/ 6040812 h 6858003"/>
              <a:gd name="connsiteX6" fmla="*/ 410706 w 12192989"/>
              <a:gd name="connsiteY6" fmla="*/ 6040813 h 6858003"/>
              <a:gd name="connsiteX7" fmla="*/ 419318 w 12192989"/>
              <a:gd name="connsiteY7" fmla="*/ 6038787 h 6858003"/>
              <a:gd name="connsiteX8" fmla="*/ 416006 w 12192989"/>
              <a:gd name="connsiteY8" fmla="*/ 6048109 h 6858003"/>
              <a:gd name="connsiteX9" fmla="*/ 425767 w 12192989"/>
              <a:gd name="connsiteY9" fmla="*/ 6045617 h 6858003"/>
              <a:gd name="connsiteX10" fmla="*/ 424882 w 12192989"/>
              <a:gd name="connsiteY10" fmla="*/ 6048108 h 6858003"/>
              <a:gd name="connsiteX11" fmla="*/ 6095432 w 12192989"/>
              <a:gd name="connsiteY11" fmla="*/ 4600308 h 6858003"/>
              <a:gd name="connsiteX12" fmla="*/ 6084867 w 12192989"/>
              <a:gd name="connsiteY12" fmla="*/ 4600308 h 6858003"/>
              <a:gd name="connsiteX13" fmla="*/ 7513412 w 12192989"/>
              <a:gd name="connsiteY13" fmla="*/ 3642276 h 6858003"/>
              <a:gd name="connsiteX14" fmla="*/ 7513412 w 12192989"/>
              <a:gd name="connsiteY14" fmla="*/ 505097 h 6858003"/>
              <a:gd name="connsiteX15" fmla="*/ 7513410 w 12192989"/>
              <a:gd name="connsiteY15" fmla="*/ 505097 h 6858003"/>
              <a:gd name="connsiteX16" fmla="*/ 7513410 w 12192989"/>
              <a:gd name="connsiteY16" fmla="*/ 505096 h 6858003"/>
              <a:gd name="connsiteX17" fmla="*/ 0 w 12192989"/>
              <a:gd name="connsiteY17" fmla="*/ 0 h 6858003"/>
              <a:gd name="connsiteX18" fmla="*/ 12192989 w 12192989"/>
              <a:gd name="connsiteY18" fmla="*/ 0 h 6858003"/>
              <a:gd name="connsiteX19" fmla="*/ 12192989 w 12192989"/>
              <a:gd name="connsiteY19" fmla="*/ 6858003 h 6858003"/>
              <a:gd name="connsiteX20" fmla="*/ 0 w 12192989"/>
              <a:gd name="connsiteY2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989" h="6858003">
                <a:moveTo>
                  <a:pt x="939930" y="505096"/>
                </a:moveTo>
                <a:lnTo>
                  <a:pt x="939930" y="505097"/>
                </a:lnTo>
                <a:lnTo>
                  <a:pt x="934404" y="505097"/>
                </a:lnTo>
                <a:lnTo>
                  <a:pt x="410704" y="1027607"/>
                </a:lnTo>
                <a:lnTo>
                  <a:pt x="410704" y="6040812"/>
                </a:lnTo>
                <a:lnTo>
                  <a:pt x="410706" y="6040812"/>
                </a:lnTo>
                <a:lnTo>
                  <a:pt x="410706" y="6040813"/>
                </a:lnTo>
                <a:lnTo>
                  <a:pt x="419318" y="6038787"/>
                </a:lnTo>
                <a:lnTo>
                  <a:pt x="416006" y="6048109"/>
                </a:lnTo>
                <a:lnTo>
                  <a:pt x="425767" y="6045617"/>
                </a:lnTo>
                <a:lnTo>
                  <a:pt x="424882" y="6048108"/>
                </a:lnTo>
                <a:lnTo>
                  <a:pt x="6095432" y="4600308"/>
                </a:lnTo>
                <a:lnTo>
                  <a:pt x="6084867" y="4600308"/>
                </a:lnTo>
                <a:lnTo>
                  <a:pt x="7513412" y="3642276"/>
                </a:lnTo>
                <a:lnTo>
                  <a:pt x="7513412" y="505097"/>
                </a:lnTo>
                <a:lnTo>
                  <a:pt x="7513410" y="505097"/>
                </a:lnTo>
                <a:lnTo>
                  <a:pt x="7513410" y="505096"/>
                </a:lnTo>
                <a:close/>
                <a:moveTo>
                  <a:pt x="0" y="0"/>
                </a:moveTo>
                <a:lnTo>
                  <a:pt x="12192989" y="0"/>
                </a:lnTo>
                <a:lnTo>
                  <a:pt x="12192989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1908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0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14" name="Datum">
            <a:extLst>
              <a:ext uri="{FF2B5EF4-FFF2-40B4-BE49-F238E27FC236}">
                <a16:creationId xmlns:a16="http://schemas.microsoft.com/office/drawing/2014/main" id="{5C925C1E-4C03-9068-9416-6E2EB601066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363921" y="4154408"/>
            <a:ext cx="3928185" cy="26445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76B6CD9B-DD7A-40BB-925B-2B999597624C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3AF548F-F28E-8DCE-BD22-EAFF714734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363921" y="1378862"/>
            <a:ext cx="5812199" cy="2617917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 oder 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Dachzeile">
            <a:extLst>
              <a:ext uri="{FF2B5EF4-FFF2-40B4-BE49-F238E27FC236}">
                <a16:creationId xmlns:a16="http://schemas.microsoft.com/office/drawing/2014/main" id="{C3FB2B13-2346-4892-983B-6BC336FAE66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63921" y="1016768"/>
            <a:ext cx="5812199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682967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5 | Türkis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1FFD5FF-C942-9FEC-196B-42ED6E8831D0}"/>
              </a:ext>
            </a:extLst>
          </p:cNvPr>
          <p:cNvGrpSpPr/>
          <p:nvPr userDrawn="1"/>
        </p:nvGrpSpPr>
        <p:grpSpPr>
          <a:xfrm>
            <a:off x="352702" y="440668"/>
            <a:ext cx="7250700" cy="5787322"/>
            <a:chOff x="352702" y="440668"/>
            <a:chExt cx="7250700" cy="578732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1FCB943-79E4-F988-AA2B-0C3414286FBE}"/>
                </a:ext>
              </a:extLst>
            </p:cNvPr>
            <p:cNvSpPr/>
            <p:nvPr userDrawn="1"/>
          </p:nvSpPr>
          <p:spPr>
            <a:xfrm flipH="1">
              <a:off x="352702" y="463854"/>
              <a:ext cx="575299" cy="5764136"/>
            </a:xfrm>
            <a:custGeom>
              <a:avLst/>
              <a:gdLst>
                <a:gd name="connsiteX0" fmla="*/ 345 w 575299"/>
                <a:gd name="connsiteY0" fmla="*/ 4154307 h 5764136"/>
                <a:gd name="connsiteX1" fmla="*/ 1484 w 575299"/>
                <a:gd name="connsiteY1" fmla="*/ 4154309 h 5764136"/>
                <a:gd name="connsiteX2" fmla="*/ 2757 w 575299"/>
                <a:gd name="connsiteY2" fmla="*/ 4157710 h 5764136"/>
                <a:gd name="connsiteX3" fmla="*/ 0 w 575299"/>
                <a:gd name="connsiteY3" fmla="*/ 0 h 5764136"/>
                <a:gd name="connsiteX4" fmla="*/ 0 w 575299"/>
                <a:gd name="connsiteY4" fmla="*/ 4154768 h 5764136"/>
                <a:gd name="connsiteX5" fmla="*/ 334737 w 575299"/>
                <a:gd name="connsiteY5" fmla="*/ 5090937 h 5764136"/>
                <a:gd name="connsiteX6" fmla="*/ 570821 w 575299"/>
                <a:gd name="connsiteY6" fmla="*/ 5764136 h 5764136"/>
                <a:gd name="connsiteX7" fmla="*/ 575299 w 575299"/>
                <a:gd name="connsiteY7" fmla="*/ 5764136 h 5764136"/>
                <a:gd name="connsiteX8" fmla="*/ 575299 w 575299"/>
                <a:gd name="connsiteY8" fmla="*/ 549851 h 576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299" h="5764136">
                  <a:moveTo>
                    <a:pt x="345" y="4154307"/>
                  </a:moveTo>
                  <a:lnTo>
                    <a:pt x="1484" y="4154309"/>
                  </a:lnTo>
                  <a:lnTo>
                    <a:pt x="2757" y="4157710"/>
                  </a:lnTo>
                  <a:close/>
                  <a:moveTo>
                    <a:pt x="0" y="0"/>
                  </a:moveTo>
                  <a:lnTo>
                    <a:pt x="0" y="4154768"/>
                  </a:lnTo>
                  <a:lnTo>
                    <a:pt x="334737" y="5090937"/>
                  </a:lnTo>
                  <a:lnTo>
                    <a:pt x="570821" y="5764136"/>
                  </a:lnTo>
                  <a:lnTo>
                    <a:pt x="575299" y="5764136"/>
                  </a:lnTo>
                  <a:lnTo>
                    <a:pt x="575299" y="549851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B2BCC82-D8D8-D92A-84BA-A0D59FE41087}"/>
                </a:ext>
              </a:extLst>
            </p:cNvPr>
            <p:cNvSpPr/>
            <p:nvPr userDrawn="1"/>
          </p:nvSpPr>
          <p:spPr>
            <a:xfrm>
              <a:off x="356915" y="4589820"/>
              <a:ext cx="5869251" cy="1611488"/>
            </a:xfrm>
            <a:custGeom>
              <a:avLst/>
              <a:gdLst>
                <a:gd name="connsiteX0" fmla="*/ 572649 w 5869251"/>
                <a:gd name="connsiteY0" fmla="*/ 9328 h 1611488"/>
                <a:gd name="connsiteX1" fmla="*/ 570237 w 5869251"/>
                <a:gd name="connsiteY1" fmla="*/ 12702 h 1611488"/>
                <a:gd name="connsiteX2" fmla="*/ 571510 w 5869251"/>
                <a:gd name="connsiteY2" fmla="*/ 9330 h 1611488"/>
                <a:gd name="connsiteX3" fmla="*/ 5869251 w 5869251"/>
                <a:gd name="connsiteY3" fmla="*/ 0 h 1611488"/>
                <a:gd name="connsiteX4" fmla="*/ 0 w 5869251"/>
                <a:gd name="connsiteY4" fmla="*/ 1611488 h 1611488"/>
                <a:gd name="connsiteX5" fmla="*/ 238257 w 5869251"/>
                <a:gd name="connsiteY5" fmla="*/ 937921 h 1611488"/>
                <a:gd name="connsiteX6" fmla="*/ 573159 w 5869251"/>
                <a:gd name="connsiteY6" fmla="*/ 9327 h 161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251" h="1611488">
                  <a:moveTo>
                    <a:pt x="572649" y="9328"/>
                  </a:moveTo>
                  <a:lnTo>
                    <a:pt x="570237" y="12702"/>
                  </a:lnTo>
                  <a:lnTo>
                    <a:pt x="571510" y="9330"/>
                  </a:lnTo>
                  <a:close/>
                  <a:moveTo>
                    <a:pt x="5869251" y="0"/>
                  </a:moveTo>
                  <a:lnTo>
                    <a:pt x="0" y="1611488"/>
                  </a:lnTo>
                  <a:lnTo>
                    <a:pt x="238257" y="937921"/>
                  </a:lnTo>
                  <a:lnTo>
                    <a:pt x="573159" y="9327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E18F161-788C-179C-3A31-C8C7384B0528}"/>
                </a:ext>
              </a:extLst>
            </p:cNvPr>
            <p:cNvSpPr/>
            <p:nvPr userDrawn="1"/>
          </p:nvSpPr>
          <p:spPr>
            <a:xfrm>
              <a:off x="936638" y="440668"/>
              <a:ext cx="6666764" cy="4159638"/>
            </a:xfrm>
            <a:custGeom>
              <a:avLst/>
              <a:gdLst>
                <a:gd name="connsiteX0" fmla="*/ 0 w 6666764"/>
                <a:gd name="connsiteY0" fmla="*/ 0 h 4159638"/>
                <a:gd name="connsiteX1" fmla="*/ 6666764 w 6666764"/>
                <a:gd name="connsiteY1" fmla="*/ 0 h 4159638"/>
                <a:gd name="connsiteX2" fmla="*/ 6666764 w 6666764"/>
                <a:gd name="connsiteY2" fmla="*/ 3216515 h 4159638"/>
                <a:gd name="connsiteX3" fmla="*/ 5287621 w 6666764"/>
                <a:gd name="connsiteY3" fmla="*/ 4159638 h 4159638"/>
                <a:gd name="connsiteX4" fmla="*/ 0 w 6666764"/>
                <a:gd name="connsiteY4" fmla="*/ 4159638 h 415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6764" h="4159638">
                  <a:moveTo>
                    <a:pt x="0" y="0"/>
                  </a:moveTo>
                  <a:lnTo>
                    <a:pt x="6666764" y="0"/>
                  </a:lnTo>
                  <a:lnTo>
                    <a:pt x="6666764" y="3216515"/>
                  </a:lnTo>
                  <a:lnTo>
                    <a:pt x="5287621" y="4159638"/>
                  </a:lnTo>
                  <a:lnTo>
                    <a:pt x="0" y="4159638"/>
                  </a:lnTo>
                  <a:close/>
                </a:path>
              </a:pathLst>
            </a:custGeom>
            <a:solidFill>
              <a:srgbClr val="FFFFF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FFAD00"/>
                </a:solidFill>
              </a:endParaRPr>
            </a:p>
          </p:txBody>
        </p:sp>
      </p:grp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8BD1A78E-41E4-1192-8B8B-EDAC2DF849C1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-3294" y="-3"/>
            <a:ext cx="12192989" cy="6858003"/>
          </a:xfrm>
          <a:custGeom>
            <a:avLst/>
            <a:gdLst>
              <a:gd name="connsiteX0" fmla="*/ 939930 w 12192989"/>
              <a:gd name="connsiteY0" fmla="*/ 505096 h 6858003"/>
              <a:gd name="connsiteX1" fmla="*/ 939930 w 12192989"/>
              <a:gd name="connsiteY1" fmla="*/ 505097 h 6858003"/>
              <a:gd name="connsiteX2" fmla="*/ 934404 w 12192989"/>
              <a:gd name="connsiteY2" fmla="*/ 505097 h 6858003"/>
              <a:gd name="connsiteX3" fmla="*/ 410704 w 12192989"/>
              <a:gd name="connsiteY3" fmla="*/ 1027607 h 6858003"/>
              <a:gd name="connsiteX4" fmla="*/ 410704 w 12192989"/>
              <a:gd name="connsiteY4" fmla="*/ 6040812 h 6858003"/>
              <a:gd name="connsiteX5" fmla="*/ 410706 w 12192989"/>
              <a:gd name="connsiteY5" fmla="*/ 6040812 h 6858003"/>
              <a:gd name="connsiteX6" fmla="*/ 410706 w 12192989"/>
              <a:gd name="connsiteY6" fmla="*/ 6040813 h 6858003"/>
              <a:gd name="connsiteX7" fmla="*/ 419318 w 12192989"/>
              <a:gd name="connsiteY7" fmla="*/ 6038787 h 6858003"/>
              <a:gd name="connsiteX8" fmla="*/ 416006 w 12192989"/>
              <a:gd name="connsiteY8" fmla="*/ 6048109 h 6858003"/>
              <a:gd name="connsiteX9" fmla="*/ 425767 w 12192989"/>
              <a:gd name="connsiteY9" fmla="*/ 6045617 h 6858003"/>
              <a:gd name="connsiteX10" fmla="*/ 424882 w 12192989"/>
              <a:gd name="connsiteY10" fmla="*/ 6048108 h 6858003"/>
              <a:gd name="connsiteX11" fmla="*/ 6095432 w 12192989"/>
              <a:gd name="connsiteY11" fmla="*/ 4600308 h 6858003"/>
              <a:gd name="connsiteX12" fmla="*/ 6084867 w 12192989"/>
              <a:gd name="connsiteY12" fmla="*/ 4600308 h 6858003"/>
              <a:gd name="connsiteX13" fmla="*/ 7513412 w 12192989"/>
              <a:gd name="connsiteY13" fmla="*/ 3642276 h 6858003"/>
              <a:gd name="connsiteX14" fmla="*/ 7513412 w 12192989"/>
              <a:gd name="connsiteY14" fmla="*/ 505097 h 6858003"/>
              <a:gd name="connsiteX15" fmla="*/ 7513410 w 12192989"/>
              <a:gd name="connsiteY15" fmla="*/ 505097 h 6858003"/>
              <a:gd name="connsiteX16" fmla="*/ 7513410 w 12192989"/>
              <a:gd name="connsiteY16" fmla="*/ 505096 h 6858003"/>
              <a:gd name="connsiteX17" fmla="*/ 0 w 12192989"/>
              <a:gd name="connsiteY17" fmla="*/ 0 h 6858003"/>
              <a:gd name="connsiteX18" fmla="*/ 12192989 w 12192989"/>
              <a:gd name="connsiteY18" fmla="*/ 0 h 6858003"/>
              <a:gd name="connsiteX19" fmla="*/ 12192989 w 12192989"/>
              <a:gd name="connsiteY19" fmla="*/ 6858003 h 6858003"/>
              <a:gd name="connsiteX20" fmla="*/ 0 w 12192989"/>
              <a:gd name="connsiteY2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989" h="6858003">
                <a:moveTo>
                  <a:pt x="939930" y="505096"/>
                </a:moveTo>
                <a:lnTo>
                  <a:pt x="939930" y="505097"/>
                </a:lnTo>
                <a:lnTo>
                  <a:pt x="934404" y="505097"/>
                </a:lnTo>
                <a:lnTo>
                  <a:pt x="410704" y="1027607"/>
                </a:lnTo>
                <a:lnTo>
                  <a:pt x="410704" y="6040812"/>
                </a:lnTo>
                <a:lnTo>
                  <a:pt x="410706" y="6040812"/>
                </a:lnTo>
                <a:lnTo>
                  <a:pt x="410706" y="6040813"/>
                </a:lnTo>
                <a:lnTo>
                  <a:pt x="419318" y="6038787"/>
                </a:lnTo>
                <a:lnTo>
                  <a:pt x="416006" y="6048109"/>
                </a:lnTo>
                <a:lnTo>
                  <a:pt x="425767" y="6045617"/>
                </a:lnTo>
                <a:lnTo>
                  <a:pt x="424882" y="6048108"/>
                </a:lnTo>
                <a:lnTo>
                  <a:pt x="6095432" y="4600308"/>
                </a:lnTo>
                <a:lnTo>
                  <a:pt x="6084867" y="4600308"/>
                </a:lnTo>
                <a:lnTo>
                  <a:pt x="7513412" y="3642276"/>
                </a:lnTo>
                <a:lnTo>
                  <a:pt x="7513412" y="505097"/>
                </a:lnTo>
                <a:lnTo>
                  <a:pt x="7513410" y="505097"/>
                </a:lnTo>
                <a:lnTo>
                  <a:pt x="7513410" y="505096"/>
                </a:lnTo>
                <a:close/>
                <a:moveTo>
                  <a:pt x="0" y="0"/>
                </a:moveTo>
                <a:lnTo>
                  <a:pt x="12192989" y="0"/>
                </a:lnTo>
                <a:lnTo>
                  <a:pt x="12192989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1908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0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14" name="Datum">
            <a:extLst>
              <a:ext uri="{FF2B5EF4-FFF2-40B4-BE49-F238E27FC236}">
                <a16:creationId xmlns:a16="http://schemas.microsoft.com/office/drawing/2014/main" id="{5C925C1E-4C03-9068-9416-6E2EB601066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363921" y="4154408"/>
            <a:ext cx="3928185" cy="26445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32A11F82-4121-4DF4-A2DA-5972B47C70C3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3AF548F-F28E-8DCE-BD22-EAFF714734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363921" y="1378862"/>
            <a:ext cx="5812199" cy="2617917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Präsentations-Titel oder 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Dachzeile">
            <a:extLst>
              <a:ext uri="{FF2B5EF4-FFF2-40B4-BE49-F238E27FC236}">
                <a16:creationId xmlns:a16="http://schemas.microsoft.com/office/drawing/2014/main" id="{C3FB2B13-2346-4892-983B-6BC336FAE66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63921" y="1016768"/>
            <a:ext cx="5812199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8793526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5 | Türkis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1FFD5FF-C942-9FEC-196B-42ED6E8831D0}"/>
              </a:ext>
            </a:extLst>
          </p:cNvPr>
          <p:cNvGrpSpPr/>
          <p:nvPr userDrawn="1"/>
        </p:nvGrpSpPr>
        <p:grpSpPr>
          <a:xfrm>
            <a:off x="352702" y="440668"/>
            <a:ext cx="7250700" cy="5787322"/>
            <a:chOff x="352702" y="440668"/>
            <a:chExt cx="7250700" cy="578732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1FCB943-79E4-F988-AA2B-0C3414286FBE}"/>
                </a:ext>
              </a:extLst>
            </p:cNvPr>
            <p:cNvSpPr/>
            <p:nvPr userDrawn="1"/>
          </p:nvSpPr>
          <p:spPr>
            <a:xfrm flipH="1">
              <a:off x="352702" y="463854"/>
              <a:ext cx="575299" cy="5764136"/>
            </a:xfrm>
            <a:custGeom>
              <a:avLst/>
              <a:gdLst>
                <a:gd name="connsiteX0" fmla="*/ 345 w 575299"/>
                <a:gd name="connsiteY0" fmla="*/ 4154307 h 5764136"/>
                <a:gd name="connsiteX1" fmla="*/ 1484 w 575299"/>
                <a:gd name="connsiteY1" fmla="*/ 4154309 h 5764136"/>
                <a:gd name="connsiteX2" fmla="*/ 2757 w 575299"/>
                <a:gd name="connsiteY2" fmla="*/ 4157710 h 5764136"/>
                <a:gd name="connsiteX3" fmla="*/ 0 w 575299"/>
                <a:gd name="connsiteY3" fmla="*/ 0 h 5764136"/>
                <a:gd name="connsiteX4" fmla="*/ 0 w 575299"/>
                <a:gd name="connsiteY4" fmla="*/ 4154768 h 5764136"/>
                <a:gd name="connsiteX5" fmla="*/ 334737 w 575299"/>
                <a:gd name="connsiteY5" fmla="*/ 5090937 h 5764136"/>
                <a:gd name="connsiteX6" fmla="*/ 570821 w 575299"/>
                <a:gd name="connsiteY6" fmla="*/ 5764136 h 5764136"/>
                <a:gd name="connsiteX7" fmla="*/ 575299 w 575299"/>
                <a:gd name="connsiteY7" fmla="*/ 5764136 h 5764136"/>
                <a:gd name="connsiteX8" fmla="*/ 575299 w 575299"/>
                <a:gd name="connsiteY8" fmla="*/ 549851 h 576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299" h="5764136">
                  <a:moveTo>
                    <a:pt x="345" y="4154307"/>
                  </a:moveTo>
                  <a:lnTo>
                    <a:pt x="1484" y="4154309"/>
                  </a:lnTo>
                  <a:lnTo>
                    <a:pt x="2757" y="4157710"/>
                  </a:lnTo>
                  <a:close/>
                  <a:moveTo>
                    <a:pt x="0" y="0"/>
                  </a:moveTo>
                  <a:lnTo>
                    <a:pt x="0" y="4154768"/>
                  </a:lnTo>
                  <a:lnTo>
                    <a:pt x="334737" y="5090937"/>
                  </a:lnTo>
                  <a:lnTo>
                    <a:pt x="570821" y="5764136"/>
                  </a:lnTo>
                  <a:lnTo>
                    <a:pt x="575299" y="5764136"/>
                  </a:lnTo>
                  <a:lnTo>
                    <a:pt x="575299" y="54985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10069F"/>
                </a:solidFill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B2BCC82-D8D8-D92A-84BA-A0D59FE41087}"/>
                </a:ext>
              </a:extLst>
            </p:cNvPr>
            <p:cNvSpPr/>
            <p:nvPr userDrawn="1"/>
          </p:nvSpPr>
          <p:spPr>
            <a:xfrm>
              <a:off x="356915" y="4589820"/>
              <a:ext cx="5869251" cy="1611488"/>
            </a:xfrm>
            <a:custGeom>
              <a:avLst/>
              <a:gdLst>
                <a:gd name="connsiteX0" fmla="*/ 572649 w 5869251"/>
                <a:gd name="connsiteY0" fmla="*/ 9328 h 1611488"/>
                <a:gd name="connsiteX1" fmla="*/ 570237 w 5869251"/>
                <a:gd name="connsiteY1" fmla="*/ 12702 h 1611488"/>
                <a:gd name="connsiteX2" fmla="*/ 571510 w 5869251"/>
                <a:gd name="connsiteY2" fmla="*/ 9330 h 1611488"/>
                <a:gd name="connsiteX3" fmla="*/ 5869251 w 5869251"/>
                <a:gd name="connsiteY3" fmla="*/ 0 h 1611488"/>
                <a:gd name="connsiteX4" fmla="*/ 0 w 5869251"/>
                <a:gd name="connsiteY4" fmla="*/ 1611488 h 1611488"/>
                <a:gd name="connsiteX5" fmla="*/ 238257 w 5869251"/>
                <a:gd name="connsiteY5" fmla="*/ 937921 h 1611488"/>
                <a:gd name="connsiteX6" fmla="*/ 573159 w 5869251"/>
                <a:gd name="connsiteY6" fmla="*/ 9327 h 161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251" h="1611488">
                  <a:moveTo>
                    <a:pt x="572649" y="9328"/>
                  </a:moveTo>
                  <a:lnTo>
                    <a:pt x="570237" y="12702"/>
                  </a:lnTo>
                  <a:lnTo>
                    <a:pt x="571510" y="9330"/>
                  </a:lnTo>
                  <a:close/>
                  <a:moveTo>
                    <a:pt x="5869251" y="0"/>
                  </a:moveTo>
                  <a:lnTo>
                    <a:pt x="0" y="1611488"/>
                  </a:lnTo>
                  <a:lnTo>
                    <a:pt x="238257" y="937921"/>
                  </a:lnTo>
                  <a:lnTo>
                    <a:pt x="573159" y="9327"/>
                  </a:lnTo>
                  <a:close/>
                </a:path>
              </a:pathLst>
            </a:custGeom>
            <a:solidFill>
              <a:srgbClr val="10AD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10069F"/>
                </a:solidFill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E18F161-788C-179C-3A31-C8C7384B0528}"/>
                </a:ext>
              </a:extLst>
            </p:cNvPr>
            <p:cNvSpPr/>
            <p:nvPr userDrawn="1"/>
          </p:nvSpPr>
          <p:spPr>
            <a:xfrm>
              <a:off x="936638" y="440668"/>
              <a:ext cx="6666764" cy="4159638"/>
            </a:xfrm>
            <a:custGeom>
              <a:avLst/>
              <a:gdLst>
                <a:gd name="connsiteX0" fmla="*/ 0 w 6666764"/>
                <a:gd name="connsiteY0" fmla="*/ 0 h 4159638"/>
                <a:gd name="connsiteX1" fmla="*/ 6666764 w 6666764"/>
                <a:gd name="connsiteY1" fmla="*/ 0 h 4159638"/>
                <a:gd name="connsiteX2" fmla="*/ 6666764 w 6666764"/>
                <a:gd name="connsiteY2" fmla="*/ 3216515 h 4159638"/>
                <a:gd name="connsiteX3" fmla="*/ 5287621 w 6666764"/>
                <a:gd name="connsiteY3" fmla="*/ 4159638 h 4159638"/>
                <a:gd name="connsiteX4" fmla="*/ 0 w 6666764"/>
                <a:gd name="connsiteY4" fmla="*/ 4159638 h 415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6764" h="4159638">
                  <a:moveTo>
                    <a:pt x="0" y="0"/>
                  </a:moveTo>
                  <a:lnTo>
                    <a:pt x="6666764" y="0"/>
                  </a:lnTo>
                  <a:lnTo>
                    <a:pt x="6666764" y="3216515"/>
                  </a:lnTo>
                  <a:lnTo>
                    <a:pt x="5287621" y="4159638"/>
                  </a:lnTo>
                  <a:lnTo>
                    <a:pt x="0" y="4159638"/>
                  </a:lnTo>
                  <a:close/>
                </a:path>
              </a:pathLst>
            </a:custGeom>
            <a:solidFill>
              <a:srgbClr val="FFFFF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10069F"/>
                </a:solidFill>
              </a:endParaRPr>
            </a:p>
          </p:txBody>
        </p:sp>
      </p:grp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8BD1A78E-41E4-1192-8B8B-EDAC2DF849C1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-3294" y="-3"/>
            <a:ext cx="12192989" cy="6858003"/>
          </a:xfrm>
          <a:custGeom>
            <a:avLst/>
            <a:gdLst>
              <a:gd name="connsiteX0" fmla="*/ 939930 w 12192989"/>
              <a:gd name="connsiteY0" fmla="*/ 505096 h 6858003"/>
              <a:gd name="connsiteX1" fmla="*/ 939930 w 12192989"/>
              <a:gd name="connsiteY1" fmla="*/ 505097 h 6858003"/>
              <a:gd name="connsiteX2" fmla="*/ 934404 w 12192989"/>
              <a:gd name="connsiteY2" fmla="*/ 505097 h 6858003"/>
              <a:gd name="connsiteX3" fmla="*/ 410704 w 12192989"/>
              <a:gd name="connsiteY3" fmla="*/ 1027607 h 6858003"/>
              <a:gd name="connsiteX4" fmla="*/ 410704 w 12192989"/>
              <a:gd name="connsiteY4" fmla="*/ 6040812 h 6858003"/>
              <a:gd name="connsiteX5" fmla="*/ 410706 w 12192989"/>
              <a:gd name="connsiteY5" fmla="*/ 6040812 h 6858003"/>
              <a:gd name="connsiteX6" fmla="*/ 410706 w 12192989"/>
              <a:gd name="connsiteY6" fmla="*/ 6040813 h 6858003"/>
              <a:gd name="connsiteX7" fmla="*/ 419318 w 12192989"/>
              <a:gd name="connsiteY7" fmla="*/ 6038787 h 6858003"/>
              <a:gd name="connsiteX8" fmla="*/ 416006 w 12192989"/>
              <a:gd name="connsiteY8" fmla="*/ 6048109 h 6858003"/>
              <a:gd name="connsiteX9" fmla="*/ 425767 w 12192989"/>
              <a:gd name="connsiteY9" fmla="*/ 6045617 h 6858003"/>
              <a:gd name="connsiteX10" fmla="*/ 424882 w 12192989"/>
              <a:gd name="connsiteY10" fmla="*/ 6048108 h 6858003"/>
              <a:gd name="connsiteX11" fmla="*/ 6095432 w 12192989"/>
              <a:gd name="connsiteY11" fmla="*/ 4600308 h 6858003"/>
              <a:gd name="connsiteX12" fmla="*/ 6084867 w 12192989"/>
              <a:gd name="connsiteY12" fmla="*/ 4600308 h 6858003"/>
              <a:gd name="connsiteX13" fmla="*/ 7513412 w 12192989"/>
              <a:gd name="connsiteY13" fmla="*/ 3642276 h 6858003"/>
              <a:gd name="connsiteX14" fmla="*/ 7513412 w 12192989"/>
              <a:gd name="connsiteY14" fmla="*/ 505097 h 6858003"/>
              <a:gd name="connsiteX15" fmla="*/ 7513410 w 12192989"/>
              <a:gd name="connsiteY15" fmla="*/ 505097 h 6858003"/>
              <a:gd name="connsiteX16" fmla="*/ 7513410 w 12192989"/>
              <a:gd name="connsiteY16" fmla="*/ 505096 h 6858003"/>
              <a:gd name="connsiteX17" fmla="*/ 0 w 12192989"/>
              <a:gd name="connsiteY17" fmla="*/ 0 h 6858003"/>
              <a:gd name="connsiteX18" fmla="*/ 12192989 w 12192989"/>
              <a:gd name="connsiteY18" fmla="*/ 0 h 6858003"/>
              <a:gd name="connsiteX19" fmla="*/ 12192989 w 12192989"/>
              <a:gd name="connsiteY19" fmla="*/ 6858003 h 6858003"/>
              <a:gd name="connsiteX20" fmla="*/ 0 w 12192989"/>
              <a:gd name="connsiteY2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989" h="6858003">
                <a:moveTo>
                  <a:pt x="939930" y="505096"/>
                </a:moveTo>
                <a:lnTo>
                  <a:pt x="939930" y="505097"/>
                </a:lnTo>
                <a:lnTo>
                  <a:pt x="934404" y="505097"/>
                </a:lnTo>
                <a:lnTo>
                  <a:pt x="410704" y="1027607"/>
                </a:lnTo>
                <a:lnTo>
                  <a:pt x="410704" y="6040812"/>
                </a:lnTo>
                <a:lnTo>
                  <a:pt x="410706" y="6040812"/>
                </a:lnTo>
                <a:lnTo>
                  <a:pt x="410706" y="6040813"/>
                </a:lnTo>
                <a:lnTo>
                  <a:pt x="419318" y="6038787"/>
                </a:lnTo>
                <a:lnTo>
                  <a:pt x="416006" y="6048109"/>
                </a:lnTo>
                <a:lnTo>
                  <a:pt x="425767" y="6045617"/>
                </a:lnTo>
                <a:lnTo>
                  <a:pt x="424882" y="6048108"/>
                </a:lnTo>
                <a:lnTo>
                  <a:pt x="6095432" y="4600308"/>
                </a:lnTo>
                <a:lnTo>
                  <a:pt x="6084867" y="4600308"/>
                </a:lnTo>
                <a:lnTo>
                  <a:pt x="7513412" y="3642276"/>
                </a:lnTo>
                <a:lnTo>
                  <a:pt x="7513412" y="505097"/>
                </a:lnTo>
                <a:lnTo>
                  <a:pt x="7513410" y="505097"/>
                </a:lnTo>
                <a:lnTo>
                  <a:pt x="7513410" y="505096"/>
                </a:lnTo>
                <a:close/>
                <a:moveTo>
                  <a:pt x="0" y="0"/>
                </a:moveTo>
                <a:lnTo>
                  <a:pt x="12192989" y="0"/>
                </a:lnTo>
                <a:lnTo>
                  <a:pt x="12192989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1908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0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14" name="Datum">
            <a:extLst>
              <a:ext uri="{FF2B5EF4-FFF2-40B4-BE49-F238E27FC236}">
                <a16:creationId xmlns:a16="http://schemas.microsoft.com/office/drawing/2014/main" id="{5C925C1E-4C03-9068-9416-6E2EB601066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363921" y="4154408"/>
            <a:ext cx="3928185" cy="26445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D0DB3254-0B9D-4DE6-99CA-CC295B3E53FB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3AF548F-F28E-8DCE-BD22-EAFF714734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363921" y="1378862"/>
            <a:ext cx="5812199" cy="2617917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 oder 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Dachzeile">
            <a:extLst>
              <a:ext uri="{FF2B5EF4-FFF2-40B4-BE49-F238E27FC236}">
                <a16:creationId xmlns:a16="http://schemas.microsoft.com/office/drawing/2014/main" id="{C3FB2B13-2346-4892-983B-6BC336FAE66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63921" y="1016768"/>
            <a:ext cx="5812199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A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665587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5 | Violett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1FFD5FF-C942-9FEC-196B-42ED6E8831D0}"/>
              </a:ext>
            </a:extLst>
          </p:cNvPr>
          <p:cNvGrpSpPr/>
          <p:nvPr userDrawn="1"/>
        </p:nvGrpSpPr>
        <p:grpSpPr>
          <a:xfrm>
            <a:off x="352702" y="440668"/>
            <a:ext cx="7250700" cy="5787322"/>
            <a:chOff x="352702" y="440668"/>
            <a:chExt cx="7250700" cy="578732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1FCB943-79E4-F988-AA2B-0C3414286FBE}"/>
                </a:ext>
              </a:extLst>
            </p:cNvPr>
            <p:cNvSpPr/>
            <p:nvPr userDrawn="1"/>
          </p:nvSpPr>
          <p:spPr>
            <a:xfrm flipH="1">
              <a:off x="352702" y="463854"/>
              <a:ext cx="575299" cy="5764136"/>
            </a:xfrm>
            <a:custGeom>
              <a:avLst/>
              <a:gdLst>
                <a:gd name="connsiteX0" fmla="*/ 345 w 575299"/>
                <a:gd name="connsiteY0" fmla="*/ 4154307 h 5764136"/>
                <a:gd name="connsiteX1" fmla="*/ 1484 w 575299"/>
                <a:gd name="connsiteY1" fmla="*/ 4154309 h 5764136"/>
                <a:gd name="connsiteX2" fmla="*/ 2757 w 575299"/>
                <a:gd name="connsiteY2" fmla="*/ 4157710 h 5764136"/>
                <a:gd name="connsiteX3" fmla="*/ 0 w 575299"/>
                <a:gd name="connsiteY3" fmla="*/ 0 h 5764136"/>
                <a:gd name="connsiteX4" fmla="*/ 0 w 575299"/>
                <a:gd name="connsiteY4" fmla="*/ 4154768 h 5764136"/>
                <a:gd name="connsiteX5" fmla="*/ 334737 w 575299"/>
                <a:gd name="connsiteY5" fmla="*/ 5090937 h 5764136"/>
                <a:gd name="connsiteX6" fmla="*/ 570821 w 575299"/>
                <a:gd name="connsiteY6" fmla="*/ 5764136 h 5764136"/>
                <a:gd name="connsiteX7" fmla="*/ 575299 w 575299"/>
                <a:gd name="connsiteY7" fmla="*/ 5764136 h 5764136"/>
                <a:gd name="connsiteX8" fmla="*/ 575299 w 575299"/>
                <a:gd name="connsiteY8" fmla="*/ 549851 h 576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299" h="5764136">
                  <a:moveTo>
                    <a:pt x="345" y="4154307"/>
                  </a:moveTo>
                  <a:lnTo>
                    <a:pt x="1484" y="4154309"/>
                  </a:lnTo>
                  <a:lnTo>
                    <a:pt x="2757" y="4157710"/>
                  </a:lnTo>
                  <a:close/>
                  <a:moveTo>
                    <a:pt x="0" y="0"/>
                  </a:moveTo>
                  <a:lnTo>
                    <a:pt x="0" y="4154768"/>
                  </a:lnTo>
                  <a:lnTo>
                    <a:pt x="334737" y="5090937"/>
                  </a:lnTo>
                  <a:lnTo>
                    <a:pt x="570821" y="5764136"/>
                  </a:lnTo>
                  <a:lnTo>
                    <a:pt x="575299" y="5764136"/>
                  </a:lnTo>
                  <a:lnTo>
                    <a:pt x="575299" y="549851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B2BCC82-D8D8-D92A-84BA-A0D59FE41087}"/>
                </a:ext>
              </a:extLst>
            </p:cNvPr>
            <p:cNvSpPr/>
            <p:nvPr userDrawn="1"/>
          </p:nvSpPr>
          <p:spPr>
            <a:xfrm>
              <a:off x="356915" y="4589820"/>
              <a:ext cx="5869251" cy="1611488"/>
            </a:xfrm>
            <a:custGeom>
              <a:avLst/>
              <a:gdLst>
                <a:gd name="connsiteX0" fmla="*/ 572649 w 5869251"/>
                <a:gd name="connsiteY0" fmla="*/ 9328 h 1611488"/>
                <a:gd name="connsiteX1" fmla="*/ 570237 w 5869251"/>
                <a:gd name="connsiteY1" fmla="*/ 12702 h 1611488"/>
                <a:gd name="connsiteX2" fmla="*/ 571510 w 5869251"/>
                <a:gd name="connsiteY2" fmla="*/ 9330 h 1611488"/>
                <a:gd name="connsiteX3" fmla="*/ 5869251 w 5869251"/>
                <a:gd name="connsiteY3" fmla="*/ 0 h 1611488"/>
                <a:gd name="connsiteX4" fmla="*/ 0 w 5869251"/>
                <a:gd name="connsiteY4" fmla="*/ 1611488 h 1611488"/>
                <a:gd name="connsiteX5" fmla="*/ 238257 w 5869251"/>
                <a:gd name="connsiteY5" fmla="*/ 937921 h 1611488"/>
                <a:gd name="connsiteX6" fmla="*/ 573159 w 5869251"/>
                <a:gd name="connsiteY6" fmla="*/ 9327 h 161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251" h="1611488">
                  <a:moveTo>
                    <a:pt x="572649" y="9328"/>
                  </a:moveTo>
                  <a:lnTo>
                    <a:pt x="570237" y="12702"/>
                  </a:lnTo>
                  <a:lnTo>
                    <a:pt x="571510" y="9330"/>
                  </a:lnTo>
                  <a:close/>
                  <a:moveTo>
                    <a:pt x="5869251" y="0"/>
                  </a:moveTo>
                  <a:lnTo>
                    <a:pt x="0" y="1611488"/>
                  </a:lnTo>
                  <a:lnTo>
                    <a:pt x="238257" y="937921"/>
                  </a:lnTo>
                  <a:lnTo>
                    <a:pt x="573159" y="9327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E18F161-788C-179C-3A31-C8C7384B0528}"/>
                </a:ext>
              </a:extLst>
            </p:cNvPr>
            <p:cNvSpPr/>
            <p:nvPr userDrawn="1"/>
          </p:nvSpPr>
          <p:spPr>
            <a:xfrm>
              <a:off x="936638" y="440668"/>
              <a:ext cx="6666764" cy="4159638"/>
            </a:xfrm>
            <a:custGeom>
              <a:avLst/>
              <a:gdLst>
                <a:gd name="connsiteX0" fmla="*/ 0 w 6666764"/>
                <a:gd name="connsiteY0" fmla="*/ 0 h 4159638"/>
                <a:gd name="connsiteX1" fmla="*/ 6666764 w 6666764"/>
                <a:gd name="connsiteY1" fmla="*/ 0 h 4159638"/>
                <a:gd name="connsiteX2" fmla="*/ 6666764 w 6666764"/>
                <a:gd name="connsiteY2" fmla="*/ 3216515 h 4159638"/>
                <a:gd name="connsiteX3" fmla="*/ 5287621 w 6666764"/>
                <a:gd name="connsiteY3" fmla="*/ 4159638 h 4159638"/>
                <a:gd name="connsiteX4" fmla="*/ 0 w 6666764"/>
                <a:gd name="connsiteY4" fmla="*/ 4159638 h 415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6764" h="4159638">
                  <a:moveTo>
                    <a:pt x="0" y="0"/>
                  </a:moveTo>
                  <a:lnTo>
                    <a:pt x="6666764" y="0"/>
                  </a:lnTo>
                  <a:lnTo>
                    <a:pt x="6666764" y="3216515"/>
                  </a:lnTo>
                  <a:lnTo>
                    <a:pt x="5287621" y="4159638"/>
                  </a:lnTo>
                  <a:lnTo>
                    <a:pt x="0" y="4159638"/>
                  </a:lnTo>
                  <a:close/>
                </a:path>
              </a:pathLst>
            </a:custGeom>
            <a:solidFill>
              <a:srgbClr val="FFFFF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FFAD00"/>
                </a:solidFill>
              </a:endParaRPr>
            </a:p>
          </p:txBody>
        </p:sp>
      </p:grp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8BD1A78E-41E4-1192-8B8B-EDAC2DF849C1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-3294" y="-3"/>
            <a:ext cx="12192989" cy="6858003"/>
          </a:xfrm>
          <a:custGeom>
            <a:avLst/>
            <a:gdLst>
              <a:gd name="connsiteX0" fmla="*/ 939930 w 12192989"/>
              <a:gd name="connsiteY0" fmla="*/ 505096 h 6858003"/>
              <a:gd name="connsiteX1" fmla="*/ 939930 w 12192989"/>
              <a:gd name="connsiteY1" fmla="*/ 505097 h 6858003"/>
              <a:gd name="connsiteX2" fmla="*/ 934404 w 12192989"/>
              <a:gd name="connsiteY2" fmla="*/ 505097 h 6858003"/>
              <a:gd name="connsiteX3" fmla="*/ 410704 w 12192989"/>
              <a:gd name="connsiteY3" fmla="*/ 1027607 h 6858003"/>
              <a:gd name="connsiteX4" fmla="*/ 410704 w 12192989"/>
              <a:gd name="connsiteY4" fmla="*/ 6040812 h 6858003"/>
              <a:gd name="connsiteX5" fmla="*/ 410706 w 12192989"/>
              <a:gd name="connsiteY5" fmla="*/ 6040812 h 6858003"/>
              <a:gd name="connsiteX6" fmla="*/ 410706 w 12192989"/>
              <a:gd name="connsiteY6" fmla="*/ 6040813 h 6858003"/>
              <a:gd name="connsiteX7" fmla="*/ 419318 w 12192989"/>
              <a:gd name="connsiteY7" fmla="*/ 6038787 h 6858003"/>
              <a:gd name="connsiteX8" fmla="*/ 416006 w 12192989"/>
              <a:gd name="connsiteY8" fmla="*/ 6048109 h 6858003"/>
              <a:gd name="connsiteX9" fmla="*/ 425767 w 12192989"/>
              <a:gd name="connsiteY9" fmla="*/ 6045617 h 6858003"/>
              <a:gd name="connsiteX10" fmla="*/ 424882 w 12192989"/>
              <a:gd name="connsiteY10" fmla="*/ 6048108 h 6858003"/>
              <a:gd name="connsiteX11" fmla="*/ 6095432 w 12192989"/>
              <a:gd name="connsiteY11" fmla="*/ 4600308 h 6858003"/>
              <a:gd name="connsiteX12" fmla="*/ 6084867 w 12192989"/>
              <a:gd name="connsiteY12" fmla="*/ 4600308 h 6858003"/>
              <a:gd name="connsiteX13" fmla="*/ 7513412 w 12192989"/>
              <a:gd name="connsiteY13" fmla="*/ 3642276 h 6858003"/>
              <a:gd name="connsiteX14" fmla="*/ 7513412 w 12192989"/>
              <a:gd name="connsiteY14" fmla="*/ 505097 h 6858003"/>
              <a:gd name="connsiteX15" fmla="*/ 7513410 w 12192989"/>
              <a:gd name="connsiteY15" fmla="*/ 505097 h 6858003"/>
              <a:gd name="connsiteX16" fmla="*/ 7513410 w 12192989"/>
              <a:gd name="connsiteY16" fmla="*/ 505096 h 6858003"/>
              <a:gd name="connsiteX17" fmla="*/ 0 w 12192989"/>
              <a:gd name="connsiteY17" fmla="*/ 0 h 6858003"/>
              <a:gd name="connsiteX18" fmla="*/ 12192989 w 12192989"/>
              <a:gd name="connsiteY18" fmla="*/ 0 h 6858003"/>
              <a:gd name="connsiteX19" fmla="*/ 12192989 w 12192989"/>
              <a:gd name="connsiteY19" fmla="*/ 6858003 h 6858003"/>
              <a:gd name="connsiteX20" fmla="*/ 0 w 12192989"/>
              <a:gd name="connsiteY2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989" h="6858003">
                <a:moveTo>
                  <a:pt x="939930" y="505096"/>
                </a:moveTo>
                <a:lnTo>
                  <a:pt x="939930" y="505097"/>
                </a:lnTo>
                <a:lnTo>
                  <a:pt x="934404" y="505097"/>
                </a:lnTo>
                <a:lnTo>
                  <a:pt x="410704" y="1027607"/>
                </a:lnTo>
                <a:lnTo>
                  <a:pt x="410704" y="6040812"/>
                </a:lnTo>
                <a:lnTo>
                  <a:pt x="410706" y="6040812"/>
                </a:lnTo>
                <a:lnTo>
                  <a:pt x="410706" y="6040813"/>
                </a:lnTo>
                <a:lnTo>
                  <a:pt x="419318" y="6038787"/>
                </a:lnTo>
                <a:lnTo>
                  <a:pt x="416006" y="6048109"/>
                </a:lnTo>
                <a:lnTo>
                  <a:pt x="425767" y="6045617"/>
                </a:lnTo>
                <a:lnTo>
                  <a:pt x="424882" y="6048108"/>
                </a:lnTo>
                <a:lnTo>
                  <a:pt x="6095432" y="4600308"/>
                </a:lnTo>
                <a:lnTo>
                  <a:pt x="6084867" y="4600308"/>
                </a:lnTo>
                <a:lnTo>
                  <a:pt x="7513412" y="3642276"/>
                </a:lnTo>
                <a:lnTo>
                  <a:pt x="7513412" y="505097"/>
                </a:lnTo>
                <a:lnTo>
                  <a:pt x="7513410" y="505097"/>
                </a:lnTo>
                <a:lnTo>
                  <a:pt x="7513410" y="505096"/>
                </a:lnTo>
                <a:close/>
                <a:moveTo>
                  <a:pt x="0" y="0"/>
                </a:moveTo>
                <a:lnTo>
                  <a:pt x="12192989" y="0"/>
                </a:lnTo>
                <a:lnTo>
                  <a:pt x="12192989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1908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0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14" name="Datum">
            <a:extLst>
              <a:ext uri="{FF2B5EF4-FFF2-40B4-BE49-F238E27FC236}">
                <a16:creationId xmlns:a16="http://schemas.microsoft.com/office/drawing/2014/main" id="{5C925C1E-4C03-9068-9416-6E2EB601066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363921" y="4154408"/>
            <a:ext cx="3928185" cy="26445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30402BE4-3764-4793-8AF9-0F523101E002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3AF548F-F28E-8DCE-BD22-EAFF714734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363921" y="1378862"/>
            <a:ext cx="5812199" cy="2617917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Präsentations-Titel oder 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Dachzeile">
            <a:extLst>
              <a:ext uri="{FF2B5EF4-FFF2-40B4-BE49-F238E27FC236}">
                <a16:creationId xmlns:a16="http://schemas.microsoft.com/office/drawing/2014/main" id="{C3FB2B13-2346-4892-983B-6BC336FAE66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63921" y="1016768"/>
            <a:ext cx="5812199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52302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5 | Violett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1FFD5FF-C942-9FEC-196B-42ED6E8831D0}"/>
              </a:ext>
            </a:extLst>
          </p:cNvPr>
          <p:cNvGrpSpPr/>
          <p:nvPr userDrawn="1"/>
        </p:nvGrpSpPr>
        <p:grpSpPr>
          <a:xfrm>
            <a:off x="352702" y="440668"/>
            <a:ext cx="7250700" cy="5787322"/>
            <a:chOff x="352702" y="440668"/>
            <a:chExt cx="7250700" cy="578732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1FCB943-79E4-F988-AA2B-0C3414286FBE}"/>
                </a:ext>
              </a:extLst>
            </p:cNvPr>
            <p:cNvSpPr/>
            <p:nvPr userDrawn="1"/>
          </p:nvSpPr>
          <p:spPr>
            <a:xfrm flipH="1">
              <a:off x="352702" y="463854"/>
              <a:ext cx="575299" cy="5764136"/>
            </a:xfrm>
            <a:custGeom>
              <a:avLst/>
              <a:gdLst>
                <a:gd name="connsiteX0" fmla="*/ 345 w 575299"/>
                <a:gd name="connsiteY0" fmla="*/ 4154307 h 5764136"/>
                <a:gd name="connsiteX1" fmla="*/ 1484 w 575299"/>
                <a:gd name="connsiteY1" fmla="*/ 4154309 h 5764136"/>
                <a:gd name="connsiteX2" fmla="*/ 2757 w 575299"/>
                <a:gd name="connsiteY2" fmla="*/ 4157710 h 5764136"/>
                <a:gd name="connsiteX3" fmla="*/ 0 w 575299"/>
                <a:gd name="connsiteY3" fmla="*/ 0 h 5764136"/>
                <a:gd name="connsiteX4" fmla="*/ 0 w 575299"/>
                <a:gd name="connsiteY4" fmla="*/ 4154768 h 5764136"/>
                <a:gd name="connsiteX5" fmla="*/ 334737 w 575299"/>
                <a:gd name="connsiteY5" fmla="*/ 5090937 h 5764136"/>
                <a:gd name="connsiteX6" fmla="*/ 570821 w 575299"/>
                <a:gd name="connsiteY6" fmla="*/ 5764136 h 5764136"/>
                <a:gd name="connsiteX7" fmla="*/ 575299 w 575299"/>
                <a:gd name="connsiteY7" fmla="*/ 5764136 h 5764136"/>
                <a:gd name="connsiteX8" fmla="*/ 575299 w 575299"/>
                <a:gd name="connsiteY8" fmla="*/ 549851 h 576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299" h="5764136">
                  <a:moveTo>
                    <a:pt x="345" y="4154307"/>
                  </a:moveTo>
                  <a:lnTo>
                    <a:pt x="1484" y="4154309"/>
                  </a:lnTo>
                  <a:lnTo>
                    <a:pt x="2757" y="4157710"/>
                  </a:lnTo>
                  <a:close/>
                  <a:moveTo>
                    <a:pt x="0" y="0"/>
                  </a:moveTo>
                  <a:lnTo>
                    <a:pt x="0" y="4154768"/>
                  </a:lnTo>
                  <a:lnTo>
                    <a:pt x="334737" y="5090937"/>
                  </a:lnTo>
                  <a:lnTo>
                    <a:pt x="570821" y="5764136"/>
                  </a:lnTo>
                  <a:lnTo>
                    <a:pt x="575299" y="5764136"/>
                  </a:lnTo>
                  <a:lnTo>
                    <a:pt x="575299" y="54985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B2BCC82-D8D8-D92A-84BA-A0D59FE41087}"/>
                </a:ext>
              </a:extLst>
            </p:cNvPr>
            <p:cNvSpPr/>
            <p:nvPr userDrawn="1"/>
          </p:nvSpPr>
          <p:spPr>
            <a:xfrm>
              <a:off x="356915" y="4589820"/>
              <a:ext cx="5869251" cy="1611488"/>
            </a:xfrm>
            <a:custGeom>
              <a:avLst/>
              <a:gdLst>
                <a:gd name="connsiteX0" fmla="*/ 572649 w 5869251"/>
                <a:gd name="connsiteY0" fmla="*/ 9328 h 1611488"/>
                <a:gd name="connsiteX1" fmla="*/ 570237 w 5869251"/>
                <a:gd name="connsiteY1" fmla="*/ 12702 h 1611488"/>
                <a:gd name="connsiteX2" fmla="*/ 571510 w 5869251"/>
                <a:gd name="connsiteY2" fmla="*/ 9330 h 1611488"/>
                <a:gd name="connsiteX3" fmla="*/ 5869251 w 5869251"/>
                <a:gd name="connsiteY3" fmla="*/ 0 h 1611488"/>
                <a:gd name="connsiteX4" fmla="*/ 0 w 5869251"/>
                <a:gd name="connsiteY4" fmla="*/ 1611488 h 1611488"/>
                <a:gd name="connsiteX5" fmla="*/ 238257 w 5869251"/>
                <a:gd name="connsiteY5" fmla="*/ 937921 h 1611488"/>
                <a:gd name="connsiteX6" fmla="*/ 573159 w 5869251"/>
                <a:gd name="connsiteY6" fmla="*/ 9327 h 161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251" h="1611488">
                  <a:moveTo>
                    <a:pt x="572649" y="9328"/>
                  </a:moveTo>
                  <a:lnTo>
                    <a:pt x="570237" y="12702"/>
                  </a:lnTo>
                  <a:lnTo>
                    <a:pt x="571510" y="9330"/>
                  </a:lnTo>
                  <a:close/>
                  <a:moveTo>
                    <a:pt x="5869251" y="0"/>
                  </a:moveTo>
                  <a:lnTo>
                    <a:pt x="0" y="1611488"/>
                  </a:lnTo>
                  <a:lnTo>
                    <a:pt x="238257" y="937921"/>
                  </a:lnTo>
                  <a:lnTo>
                    <a:pt x="573159" y="9327"/>
                  </a:lnTo>
                  <a:close/>
                </a:path>
              </a:pathLst>
            </a:custGeom>
            <a:solidFill>
              <a:srgbClr val="8C3E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E18F161-788C-179C-3A31-C8C7384B0528}"/>
                </a:ext>
              </a:extLst>
            </p:cNvPr>
            <p:cNvSpPr/>
            <p:nvPr userDrawn="1"/>
          </p:nvSpPr>
          <p:spPr>
            <a:xfrm>
              <a:off x="936638" y="440668"/>
              <a:ext cx="6666764" cy="4159638"/>
            </a:xfrm>
            <a:custGeom>
              <a:avLst/>
              <a:gdLst>
                <a:gd name="connsiteX0" fmla="*/ 0 w 6666764"/>
                <a:gd name="connsiteY0" fmla="*/ 0 h 4159638"/>
                <a:gd name="connsiteX1" fmla="*/ 6666764 w 6666764"/>
                <a:gd name="connsiteY1" fmla="*/ 0 h 4159638"/>
                <a:gd name="connsiteX2" fmla="*/ 6666764 w 6666764"/>
                <a:gd name="connsiteY2" fmla="*/ 3216515 h 4159638"/>
                <a:gd name="connsiteX3" fmla="*/ 5287621 w 6666764"/>
                <a:gd name="connsiteY3" fmla="*/ 4159638 h 4159638"/>
                <a:gd name="connsiteX4" fmla="*/ 0 w 6666764"/>
                <a:gd name="connsiteY4" fmla="*/ 4159638 h 415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6764" h="4159638">
                  <a:moveTo>
                    <a:pt x="0" y="0"/>
                  </a:moveTo>
                  <a:lnTo>
                    <a:pt x="6666764" y="0"/>
                  </a:lnTo>
                  <a:lnTo>
                    <a:pt x="6666764" y="3216515"/>
                  </a:lnTo>
                  <a:lnTo>
                    <a:pt x="5287621" y="4159638"/>
                  </a:lnTo>
                  <a:lnTo>
                    <a:pt x="0" y="4159638"/>
                  </a:lnTo>
                  <a:close/>
                </a:path>
              </a:pathLst>
            </a:custGeom>
            <a:solidFill>
              <a:srgbClr val="FFFFF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FFAD00"/>
                </a:solidFill>
              </a:endParaRPr>
            </a:p>
          </p:txBody>
        </p:sp>
      </p:grp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8BD1A78E-41E4-1192-8B8B-EDAC2DF849C1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-3294" y="-3"/>
            <a:ext cx="12192989" cy="6858003"/>
          </a:xfrm>
          <a:custGeom>
            <a:avLst/>
            <a:gdLst>
              <a:gd name="connsiteX0" fmla="*/ 939930 w 12192989"/>
              <a:gd name="connsiteY0" fmla="*/ 505096 h 6858003"/>
              <a:gd name="connsiteX1" fmla="*/ 939930 w 12192989"/>
              <a:gd name="connsiteY1" fmla="*/ 505097 h 6858003"/>
              <a:gd name="connsiteX2" fmla="*/ 934404 w 12192989"/>
              <a:gd name="connsiteY2" fmla="*/ 505097 h 6858003"/>
              <a:gd name="connsiteX3" fmla="*/ 410704 w 12192989"/>
              <a:gd name="connsiteY3" fmla="*/ 1027607 h 6858003"/>
              <a:gd name="connsiteX4" fmla="*/ 410704 w 12192989"/>
              <a:gd name="connsiteY4" fmla="*/ 6040812 h 6858003"/>
              <a:gd name="connsiteX5" fmla="*/ 410706 w 12192989"/>
              <a:gd name="connsiteY5" fmla="*/ 6040812 h 6858003"/>
              <a:gd name="connsiteX6" fmla="*/ 410706 w 12192989"/>
              <a:gd name="connsiteY6" fmla="*/ 6040813 h 6858003"/>
              <a:gd name="connsiteX7" fmla="*/ 419318 w 12192989"/>
              <a:gd name="connsiteY7" fmla="*/ 6038787 h 6858003"/>
              <a:gd name="connsiteX8" fmla="*/ 416006 w 12192989"/>
              <a:gd name="connsiteY8" fmla="*/ 6048109 h 6858003"/>
              <a:gd name="connsiteX9" fmla="*/ 425767 w 12192989"/>
              <a:gd name="connsiteY9" fmla="*/ 6045617 h 6858003"/>
              <a:gd name="connsiteX10" fmla="*/ 424882 w 12192989"/>
              <a:gd name="connsiteY10" fmla="*/ 6048108 h 6858003"/>
              <a:gd name="connsiteX11" fmla="*/ 6095432 w 12192989"/>
              <a:gd name="connsiteY11" fmla="*/ 4600308 h 6858003"/>
              <a:gd name="connsiteX12" fmla="*/ 6084867 w 12192989"/>
              <a:gd name="connsiteY12" fmla="*/ 4600308 h 6858003"/>
              <a:gd name="connsiteX13" fmla="*/ 7513412 w 12192989"/>
              <a:gd name="connsiteY13" fmla="*/ 3642276 h 6858003"/>
              <a:gd name="connsiteX14" fmla="*/ 7513412 w 12192989"/>
              <a:gd name="connsiteY14" fmla="*/ 505097 h 6858003"/>
              <a:gd name="connsiteX15" fmla="*/ 7513410 w 12192989"/>
              <a:gd name="connsiteY15" fmla="*/ 505097 h 6858003"/>
              <a:gd name="connsiteX16" fmla="*/ 7513410 w 12192989"/>
              <a:gd name="connsiteY16" fmla="*/ 505096 h 6858003"/>
              <a:gd name="connsiteX17" fmla="*/ 0 w 12192989"/>
              <a:gd name="connsiteY17" fmla="*/ 0 h 6858003"/>
              <a:gd name="connsiteX18" fmla="*/ 12192989 w 12192989"/>
              <a:gd name="connsiteY18" fmla="*/ 0 h 6858003"/>
              <a:gd name="connsiteX19" fmla="*/ 12192989 w 12192989"/>
              <a:gd name="connsiteY19" fmla="*/ 6858003 h 6858003"/>
              <a:gd name="connsiteX20" fmla="*/ 0 w 12192989"/>
              <a:gd name="connsiteY2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989" h="6858003">
                <a:moveTo>
                  <a:pt x="939930" y="505096"/>
                </a:moveTo>
                <a:lnTo>
                  <a:pt x="939930" y="505097"/>
                </a:lnTo>
                <a:lnTo>
                  <a:pt x="934404" y="505097"/>
                </a:lnTo>
                <a:lnTo>
                  <a:pt x="410704" y="1027607"/>
                </a:lnTo>
                <a:lnTo>
                  <a:pt x="410704" y="6040812"/>
                </a:lnTo>
                <a:lnTo>
                  <a:pt x="410706" y="6040812"/>
                </a:lnTo>
                <a:lnTo>
                  <a:pt x="410706" y="6040813"/>
                </a:lnTo>
                <a:lnTo>
                  <a:pt x="419318" y="6038787"/>
                </a:lnTo>
                <a:lnTo>
                  <a:pt x="416006" y="6048109"/>
                </a:lnTo>
                <a:lnTo>
                  <a:pt x="425767" y="6045617"/>
                </a:lnTo>
                <a:lnTo>
                  <a:pt x="424882" y="6048108"/>
                </a:lnTo>
                <a:lnTo>
                  <a:pt x="6095432" y="4600308"/>
                </a:lnTo>
                <a:lnTo>
                  <a:pt x="6084867" y="4600308"/>
                </a:lnTo>
                <a:lnTo>
                  <a:pt x="7513412" y="3642276"/>
                </a:lnTo>
                <a:lnTo>
                  <a:pt x="7513412" y="505097"/>
                </a:lnTo>
                <a:lnTo>
                  <a:pt x="7513410" y="505097"/>
                </a:lnTo>
                <a:lnTo>
                  <a:pt x="7513410" y="505096"/>
                </a:lnTo>
                <a:close/>
                <a:moveTo>
                  <a:pt x="0" y="0"/>
                </a:moveTo>
                <a:lnTo>
                  <a:pt x="12192989" y="0"/>
                </a:lnTo>
                <a:lnTo>
                  <a:pt x="12192989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1908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0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14" name="Datum">
            <a:extLst>
              <a:ext uri="{FF2B5EF4-FFF2-40B4-BE49-F238E27FC236}">
                <a16:creationId xmlns:a16="http://schemas.microsoft.com/office/drawing/2014/main" id="{5C925C1E-4C03-9068-9416-6E2EB601066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363921" y="4154408"/>
            <a:ext cx="3928185" cy="26445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454A0A6D-3094-47E1-8545-3453F7068CCB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3AF548F-F28E-8DCE-BD22-EAFF714734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363921" y="1378862"/>
            <a:ext cx="5812199" cy="2617917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 oder 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Dachzeile">
            <a:extLst>
              <a:ext uri="{FF2B5EF4-FFF2-40B4-BE49-F238E27FC236}">
                <a16:creationId xmlns:a16="http://schemas.microsoft.com/office/drawing/2014/main" id="{C3FB2B13-2346-4892-983B-6BC336FAE66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63921" y="1016768"/>
            <a:ext cx="5812199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5112797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5 | Orange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1FFD5FF-C942-9FEC-196B-42ED6E8831D0}"/>
              </a:ext>
            </a:extLst>
          </p:cNvPr>
          <p:cNvGrpSpPr/>
          <p:nvPr userDrawn="1"/>
        </p:nvGrpSpPr>
        <p:grpSpPr>
          <a:xfrm>
            <a:off x="352702" y="440668"/>
            <a:ext cx="7250700" cy="5787322"/>
            <a:chOff x="352702" y="440668"/>
            <a:chExt cx="7250700" cy="578732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1FCB943-79E4-F988-AA2B-0C3414286FBE}"/>
                </a:ext>
              </a:extLst>
            </p:cNvPr>
            <p:cNvSpPr/>
            <p:nvPr userDrawn="1"/>
          </p:nvSpPr>
          <p:spPr>
            <a:xfrm flipH="1">
              <a:off x="352702" y="463854"/>
              <a:ext cx="575299" cy="5764136"/>
            </a:xfrm>
            <a:custGeom>
              <a:avLst/>
              <a:gdLst>
                <a:gd name="connsiteX0" fmla="*/ 345 w 575299"/>
                <a:gd name="connsiteY0" fmla="*/ 4154307 h 5764136"/>
                <a:gd name="connsiteX1" fmla="*/ 1484 w 575299"/>
                <a:gd name="connsiteY1" fmla="*/ 4154309 h 5764136"/>
                <a:gd name="connsiteX2" fmla="*/ 2757 w 575299"/>
                <a:gd name="connsiteY2" fmla="*/ 4157710 h 5764136"/>
                <a:gd name="connsiteX3" fmla="*/ 0 w 575299"/>
                <a:gd name="connsiteY3" fmla="*/ 0 h 5764136"/>
                <a:gd name="connsiteX4" fmla="*/ 0 w 575299"/>
                <a:gd name="connsiteY4" fmla="*/ 4154768 h 5764136"/>
                <a:gd name="connsiteX5" fmla="*/ 334737 w 575299"/>
                <a:gd name="connsiteY5" fmla="*/ 5090937 h 5764136"/>
                <a:gd name="connsiteX6" fmla="*/ 570821 w 575299"/>
                <a:gd name="connsiteY6" fmla="*/ 5764136 h 5764136"/>
                <a:gd name="connsiteX7" fmla="*/ 575299 w 575299"/>
                <a:gd name="connsiteY7" fmla="*/ 5764136 h 5764136"/>
                <a:gd name="connsiteX8" fmla="*/ 575299 w 575299"/>
                <a:gd name="connsiteY8" fmla="*/ 549851 h 576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299" h="5764136">
                  <a:moveTo>
                    <a:pt x="345" y="4154307"/>
                  </a:moveTo>
                  <a:lnTo>
                    <a:pt x="1484" y="4154309"/>
                  </a:lnTo>
                  <a:lnTo>
                    <a:pt x="2757" y="4157710"/>
                  </a:lnTo>
                  <a:close/>
                  <a:moveTo>
                    <a:pt x="0" y="0"/>
                  </a:moveTo>
                  <a:lnTo>
                    <a:pt x="0" y="4154768"/>
                  </a:lnTo>
                  <a:lnTo>
                    <a:pt x="334737" y="5090937"/>
                  </a:lnTo>
                  <a:lnTo>
                    <a:pt x="570821" y="5764136"/>
                  </a:lnTo>
                  <a:lnTo>
                    <a:pt x="575299" y="5764136"/>
                  </a:lnTo>
                  <a:lnTo>
                    <a:pt x="575299" y="549851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B2BCC82-D8D8-D92A-84BA-A0D59FE41087}"/>
                </a:ext>
              </a:extLst>
            </p:cNvPr>
            <p:cNvSpPr/>
            <p:nvPr userDrawn="1"/>
          </p:nvSpPr>
          <p:spPr>
            <a:xfrm>
              <a:off x="356915" y="4589820"/>
              <a:ext cx="5869251" cy="1611488"/>
            </a:xfrm>
            <a:custGeom>
              <a:avLst/>
              <a:gdLst>
                <a:gd name="connsiteX0" fmla="*/ 572649 w 5869251"/>
                <a:gd name="connsiteY0" fmla="*/ 9328 h 1611488"/>
                <a:gd name="connsiteX1" fmla="*/ 570237 w 5869251"/>
                <a:gd name="connsiteY1" fmla="*/ 12702 h 1611488"/>
                <a:gd name="connsiteX2" fmla="*/ 571510 w 5869251"/>
                <a:gd name="connsiteY2" fmla="*/ 9330 h 1611488"/>
                <a:gd name="connsiteX3" fmla="*/ 5869251 w 5869251"/>
                <a:gd name="connsiteY3" fmla="*/ 0 h 1611488"/>
                <a:gd name="connsiteX4" fmla="*/ 0 w 5869251"/>
                <a:gd name="connsiteY4" fmla="*/ 1611488 h 1611488"/>
                <a:gd name="connsiteX5" fmla="*/ 238257 w 5869251"/>
                <a:gd name="connsiteY5" fmla="*/ 937921 h 1611488"/>
                <a:gd name="connsiteX6" fmla="*/ 573159 w 5869251"/>
                <a:gd name="connsiteY6" fmla="*/ 9327 h 161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251" h="1611488">
                  <a:moveTo>
                    <a:pt x="572649" y="9328"/>
                  </a:moveTo>
                  <a:lnTo>
                    <a:pt x="570237" y="12702"/>
                  </a:lnTo>
                  <a:lnTo>
                    <a:pt x="571510" y="9330"/>
                  </a:lnTo>
                  <a:close/>
                  <a:moveTo>
                    <a:pt x="5869251" y="0"/>
                  </a:moveTo>
                  <a:lnTo>
                    <a:pt x="0" y="1611488"/>
                  </a:lnTo>
                  <a:lnTo>
                    <a:pt x="238257" y="937921"/>
                  </a:lnTo>
                  <a:lnTo>
                    <a:pt x="573159" y="9327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E18F161-788C-179C-3A31-C8C7384B0528}"/>
                </a:ext>
              </a:extLst>
            </p:cNvPr>
            <p:cNvSpPr/>
            <p:nvPr userDrawn="1"/>
          </p:nvSpPr>
          <p:spPr>
            <a:xfrm>
              <a:off x="936638" y="440668"/>
              <a:ext cx="6666764" cy="4159638"/>
            </a:xfrm>
            <a:custGeom>
              <a:avLst/>
              <a:gdLst>
                <a:gd name="connsiteX0" fmla="*/ 0 w 6666764"/>
                <a:gd name="connsiteY0" fmla="*/ 0 h 4159638"/>
                <a:gd name="connsiteX1" fmla="*/ 6666764 w 6666764"/>
                <a:gd name="connsiteY1" fmla="*/ 0 h 4159638"/>
                <a:gd name="connsiteX2" fmla="*/ 6666764 w 6666764"/>
                <a:gd name="connsiteY2" fmla="*/ 3216515 h 4159638"/>
                <a:gd name="connsiteX3" fmla="*/ 5287621 w 6666764"/>
                <a:gd name="connsiteY3" fmla="*/ 4159638 h 4159638"/>
                <a:gd name="connsiteX4" fmla="*/ 0 w 6666764"/>
                <a:gd name="connsiteY4" fmla="*/ 4159638 h 415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6764" h="4159638">
                  <a:moveTo>
                    <a:pt x="0" y="0"/>
                  </a:moveTo>
                  <a:lnTo>
                    <a:pt x="6666764" y="0"/>
                  </a:lnTo>
                  <a:lnTo>
                    <a:pt x="6666764" y="3216515"/>
                  </a:lnTo>
                  <a:lnTo>
                    <a:pt x="5287621" y="4159638"/>
                  </a:lnTo>
                  <a:lnTo>
                    <a:pt x="0" y="4159638"/>
                  </a:lnTo>
                  <a:close/>
                </a:path>
              </a:pathLst>
            </a:custGeom>
            <a:solidFill>
              <a:srgbClr val="FFFFF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FFAD00"/>
                </a:solidFill>
              </a:endParaRPr>
            </a:p>
          </p:txBody>
        </p:sp>
      </p:grp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8BD1A78E-41E4-1192-8B8B-EDAC2DF849C1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-3294" y="-3"/>
            <a:ext cx="12192989" cy="6858003"/>
          </a:xfrm>
          <a:custGeom>
            <a:avLst/>
            <a:gdLst>
              <a:gd name="connsiteX0" fmla="*/ 939930 w 12192989"/>
              <a:gd name="connsiteY0" fmla="*/ 505096 h 6858003"/>
              <a:gd name="connsiteX1" fmla="*/ 939930 w 12192989"/>
              <a:gd name="connsiteY1" fmla="*/ 505097 h 6858003"/>
              <a:gd name="connsiteX2" fmla="*/ 934404 w 12192989"/>
              <a:gd name="connsiteY2" fmla="*/ 505097 h 6858003"/>
              <a:gd name="connsiteX3" fmla="*/ 410704 w 12192989"/>
              <a:gd name="connsiteY3" fmla="*/ 1027607 h 6858003"/>
              <a:gd name="connsiteX4" fmla="*/ 410704 w 12192989"/>
              <a:gd name="connsiteY4" fmla="*/ 6040812 h 6858003"/>
              <a:gd name="connsiteX5" fmla="*/ 410706 w 12192989"/>
              <a:gd name="connsiteY5" fmla="*/ 6040812 h 6858003"/>
              <a:gd name="connsiteX6" fmla="*/ 410706 w 12192989"/>
              <a:gd name="connsiteY6" fmla="*/ 6040813 h 6858003"/>
              <a:gd name="connsiteX7" fmla="*/ 419318 w 12192989"/>
              <a:gd name="connsiteY7" fmla="*/ 6038787 h 6858003"/>
              <a:gd name="connsiteX8" fmla="*/ 416006 w 12192989"/>
              <a:gd name="connsiteY8" fmla="*/ 6048109 h 6858003"/>
              <a:gd name="connsiteX9" fmla="*/ 425767 w 12192989"/>
              <a:gd name="connsiteY9" fmla="*/ 6045617 h 6858003"/>
              <a:gd name="connsiteX10" fmla="*/ 424882 w 12192989"/>
              <a:gd name="connsiteY10" fmla="*/ 6048108 h 6858003"/>
              <a:gd name="connsiteX11" fmla="*/ 6095432 w 12192989"/>
              <a:gd name="connsiteY11" fmla="*/ 4600308 h 6858003"/>
              <a:gd name="connsiteX12" fmla="*/ 6084867 w 12192989"/>
              <a:gd name="connsiteY12" fmla="*/ 4600308 h 6858003"/>
              <a:gd name="connsiteX13" fmla="*/ 7513412 w 12192989"/>
              <a:gd name="connsiteY13" fmla="*/ 3642276 h 6858003"/>
              <a:gd name="connsiteX14" fmla="*/ 7513412 w 12192989"/>
              <a:gd name="connsiteY14" fmla="*/ 505097 h 6858003"/>
              <a:gd name="connsiteX15" fmla="*/ 7513410 w 12192989"/>
              <a:gd name="connsiteY15" fmla="*/ 505097 h 6858003"/>
              <a:gd name="connsiteX16" fmla="*/ 7513410 w 12192989"/>
              <a:gd name="connsiteY16" fmla="*/ 505096 h 6858003"/>
              <a:gd name="connsiteX17" fmla="*/ 0 w 12192989"/>
              <a:gd name="connsiteY17" fmla="*/ 0 h 6858003"/>
              <a:gd name="connsiteX18" fmla="*/ 12192989 w 12192989"/>
              <a:gd name="connsiteY18" fmla="*/ 0 h 6858003"/>
              <a:gd name="connsiteX19" fmla="*/ 12192989 w 12192989"/>
              <a:gd name="connsiteY19" fmla="*/ 6858003 h 6858003"/>
              <a:gd name="connsiteX20" fmla="*/ 0 w 12192989"/>
              <a:gd name="connsiteY2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989" h="6858003">
                <a:moveTo>
                  <a:pt x="939930" y="505096"/>
                </a:moveTo>
                <a:lnTo>
                  <a:pt x="939930" y="505097"/>
                </a:lnTo>
                <a:lnTo>
                  <a:pt x="934404" y="505097"/>
                </a:lnTo>
                <a:lnTo>
                  <a:pt x="410704" y="1027607"/>
                </a:lnTo>
                <a:lnTo>
                  <a:pt x="410704" y="6040812"/>
                </a:lnTo>
                <a:lnTo>
                  <a:pt x="410706" y="6040812"/>
                </a:lnTo>
                <a:lnTo>
                  <a:pt x="410706" y="6040813"/>
                </a:lnTo>
                <a:lnTo>
                  <a:pt x="419318" y="6038787"/>
                </a:lnTo>
                <a:lnTo>
                  <a:pt x="416006" y="6048109"/>
                </a:lnTo>
                <a:lnTo>
                  <a:pt x="425767" y="6045617"/>
                </a:lnTo>
                <a:lnTo>
                  <a:pt x="424882" y="6048108"/>
                </a:lnTo>
                <a:lnTo>
                  <a:pt x="6095432" y="4600308"/>
                </a:lnTo>
                <a:lnTo>
                  <a:pt x="6084867" y="4600308"/>
                </a:lnTo>
                <a:lnTo>
                  <a:pt x="7513412" y="3642276"/>
                </a:lnTo>
                <a:lnTo>
                  <a:pt x="7513412" y="505097"/>
                </a:lnTo>
                <a:lnTo>
                  <a:pt x="7513410" y="505097"/>
                </a:lnTo>
                <a:lnTo>
                  <a:pt x="7513410" y="505096"/>
                </a:lnTo>
                <a:close/>
                <a:moveTo>
                  <a:pt x="0" y="0"/>
                </a:moveTo>
                <a:lnTo>
                  <a:pt x="12192989" y="0"/>
                </a:lnTo>
                <a:lnTo>
                  <a:pt x="12192989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1908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0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14" name="Datum">
            <a:extLst>
              <a:ext uri="{FF2B5EF4-FFF2-40B4-BE49-F238E27FC236}">
                <a16:creationId xmlns:a16="http://schemas.microsoft.com/office/drawing/2014/main" id="{5C925C1E-4C03-9068-9416-6E2EB601066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363921" y="4154408"/>
            <a:ext cx="3928185" cy="26445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AF009FEE-4F10-4EC2-BCB3-3A884583B88A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3AF548F-F28E-8DCE-BD22-EAFF714734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363921" y="1378862"/>
            <a:ext cx="5812199" cy="2617917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Präsentations-Titel oder 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Dachzeile">
            <a:extLst>
              <a:ext uri="{FF2B5EF4-FFF2-40B4-BE49-F238E27FC236}">
                <a16:creationId xmlns:a16="http://schemas.microsoft.com/office/drawing/2014/main" id="{C3FB2B13-2346-4892-983B-6BC336FAE66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63921" y="1016768"/>
            <a:ext cx="5812199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478639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5 | Orange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1FFD5FF-C942-9FEC-196B-42ED6E8831D0}"/>
              </a:ext>
            </a:extLst>
          </p:cNvPr>
          <p:cNvGrpSpPr/>
          <p:nvPr userDrawn="1"/>
        </p:nvGrpSpPr>
        <p:grpSpPr>
          <a:xfrm>
            <a:off x="352702" y="440668"/>
            <a:ext cx="7250700" cy="5787322"/>
            <a:chOff x="352702" y="440668"/>
            <a:chExt cx="7250700" cy="578732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1FCB943-79E4-F988-AA2B-0C3414286FBE}"/>
                </a:ext>
              </a:extLst>
            </p:cNvPr>
            <p:cNvSpPr/>
            <p:nvPr userDrawn="1"/>
          </p:nvSpPr>
          <p:spPr>
            <a:xfrm flipH="1">
              <a:off x="352702" y="463854"/>
              <a:ext cx="575299" cy="5764136"/>
            </a:xfrm>
            <a:custGeom>
              <a:avLst/>
              <a:gdLst>
                <a:gd name="connsiteX0" fmla="*/ 345 w 575299"/>
                <a:gd name="connsiteY0" fmla="*/ 4154307 h 5764136"/>
                <a:gd name="connsiteX1" fmla="*/ 1484 w 575299"/>
                <a:gd name="connsiteY1" fmla="*/ 4154309 h 5764136"/>
                <a:gd name="connsiteX2" fmla="*/ 2757 w 575299"/>
                <a:gd name="connsiteY2" fmla="*/ 4157710 h 5764136"/>
                <a:gd name="connsiteX3" fmla="*/ 0 w 575299"/>
                <a:gd name="connsiteY3" fmla="*/ 0 h 5764136"/>
                <a:gd name="connsiteX4" fmla="*/ 0 w 575299"/>
                <a:gd name="connsiteY4" fmla="*/ 4154768 h 5764136"/>
                <a:gd name="connsiteX5" fmla="*/ 334737 w 575299"/>
                <a:gd name="connsiteY5" fmla="*/ 5090937 h 5764136"/>
                <a:gd name="connsiteX6" fmla="*/ 570821 w 575299"/>
                <a:gd name="connsiteY6" fmla="*/ 5764136 h 5764136"/>
                <a:gd name="connsiteX7" fmla="*/ 575299 w 575299"/>
                <a:gd name="connsiteY7" fmla="*/ 5764136 h 5764136"/>
                <a:gd name="connsiteX8" fmla="*/ 575299 w 575299"/>
                <a:gd name="connsiteY8" fmla="*/ 549851 h 576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299" h="5764136">
                  <a:moveTo>
                    <a:pt x="345" y="4154307"/>
                  </a:moveTo>
                  <a:lnTo>
                    <a:pt x="1484" y="4154309"/>
                  </a:lnTo>
                  <a:lnTo>
                    <a:pt x="2757" y="4157710"/>
                  </a:lnTo>
                  <a:close/>
                  <a:moveTo>
                    <a:pt x="0" y="0"/>
                  </a:moveTo>
                  <a:lnTo>
                    <a:pt x="0" y="4154768"/>
                  </a:lnTo>
                  <a:lnTo>
                    <a:pt x="334737" y="5090937"/>
                  </a:lnTo>
                  <a:lnTo>
                    <a:pt x="570821" y="5764136"/>
                  </a:lnTo>
                  <a:lnTo>
                    <a:pt x="575299" y="5764136"/>
                  </a:lnTo>
                  <a:lnTo>
                    <a:pt x="575299" y="54985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B2BCC82-D8D8-D92A-84BA-A0D59FE41087}"/>
                </a:ext>
              </a:extLst>
            </p:cNvPr>
            <p:cNvSpPr/>
            <p:nvPr userDrawn="1"/>
          </p:nvSpPr>
          <p:spPr>
            <a:xfrm>
              <a:off x="356915" y="4589820"/>
              <a:ext cx="5869251" cy="1611488"/>
            </a:xfrm>
            <a:custGeom>
              <a:avLst/>
              <a:gdLst>
                <a:gd name="connsiteX0" fmla="*/ 572649 w 5869251"/>
                <a:gd name="connsiteY0" fmla="*/ 9328 h 1611488"/>
                <a:gd name="connsiteX1" fmla="*/ 570237 w 5869251"/>
                <a:gd name="connsiteY1" fmla="*/ 12702 h 1611488"/>
                <a:gd name="connsiteX2" fmla="*/ 571510 w 5869251"/>
                <a:gd name="connsiteY2" fmla="*/ 9330 h 1611488"/>
                <a:gd name="connsiteX3" fmla="*/ 5869251 w 5869251"/>
                <a:gd name="connsiteY3" fmla="*/ 0 h 1611488"/>
                <a:gd name="connsiteX4" fmla="*/ 0 w 5869251"/>
                <a:gd name="connsiteY4" fmla="*/ 1611488 h 1611488"/>
                <a:gd name="connsiteX5" fmla="*/ 238257 w 5869251"/>
                <a:gd name="connsiteY5" fmla="*/ 937921 h 1611488"/>
                <a:gd name="connsiteX6" fmla="*/ 573159 w 5869251"/>
                <a:gd name="connsiteY6" fmla="*/ 9327 h 161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251" h="1611488">
                  <a:moveTo>
                    <a:pt x="572649" y="9328"/>
                  </a:moveTo>
                  <a:lnTo>
                    <a:pt x="570237" y="12702"/>
                  </a:lnTo>
                  <a:lnTo>
                    <a:pt x="571510" y="9330"/>
                  </a:lnTo>
                  <a:close/>
                  <a:moveTo>
                    <a:pt x="5869251" y="0"/>
                  </a:moveTo>
                  <a:lnTo>
                    <a:pt x="0" y="1611488"/>
                  </a:lnTo>
                  <a:lnTo>
                    <a:pt x="238257" y="937921"/>
                  </a:lnTo>
                  <a:lnTo>
                    <a:pt x="573159" y="9327"/>
                  </a:lnTo>
                  <a:close/>
                </a:path>
              </a:pathLst>
            </a:custGeom>
            <a:solidFill>
              <a:srgbClr val="FF441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E18F161-788C-179C-3A31-C8C7384B0528}"/>
                </a:ext>
              </a:extLst>
            </p:cNvPr>
            <p:cNvSpPr/>
            <p:nvPr userDrawn="1"/>
          </p:nvSpPr>
          <p:spPr>
            <a:xfrm>
              <a:off x="936638" y="440668"/>
              <a:ext cx="6666764" cy="4159638"/>
            </a:xfrm>
            <a:custGeom>
              <a:avLst/>
              <a:gdLst>
                <a:gd name="connsiteX0" fmla="*/ 0 w 6666764"/>
                <a:gd name="connsiteY0" fmla="*/ 0 h 4159638"/>
                <a:gd name="connsiteX1" fmla="*/ 6666764 w 6666764"/>
                <a:gd name="connsiteY1" fmla="*/ 0 h 4159638"/>
                <a:gd name="connsiteX2" fmla="*/ 6666764 w 6666764"/>
                <a:gd name="connsiteY2" fmla="*/ 3216515 h 4159638"/>
                <a:gd name="connsiteX3" fmla="*/ 5287621 w 6666764"/>
                <a:gd name="connsiteY3" fmla="*/ 4159638 h 4159638"/>
                <a:gd name="connsiteX4" fmla="*/ 0 w 6666764"/>
                <a:gd name="connsiteY4" fmla="*/ 4159638 h 415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6764" h="4159638">
                  <a:moveTo>
                    <a:pt x="0" y="0"/>
                  </a:moveTo>
                  <a:lnTo>
                    <a:pt x="6666764" y="0"/>
                  </a:lnTo>
                  <a:lnTo>
                    <a:pt x="6666764" y="3216515"/>
                  </a:lnTo>
                  <a:lnTo>
                    <a:pt x="5287621" y="4159638"/>
                  </a:lnTo>
                  <a:lnTo>
                    <a:pt x="0" y="4159638"/>
                  </a:lnTo>
                  <a:close/>
                </a:path>
              </a:pathLst>
            </a:custGeom>
            <a:solidFill>
              <a:srgbClr val="FFFFF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FFAD00"/>
                </a:solidFill>
              </a:endParaRPr>
            </a:p>
          </p:txBody>
        </p:sp>
      </p:grp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8BD1A78E-41E4-1192-8B8B-EDAC2DF849C1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-3294" y="-3"/>
            <a:ext cx="12192989" cy="6858003"/>
          </a:xfrm>
          <a:custGeom>
            <a:avLst/>
            <a:gdLst>
              <a:gd name="connsiteX0" fmla="*/ 939930 w 12192989"/>
              <a:gd name="connsiteY0" fmla="*/ 505096 h 6858003"/>
              <a:gd name="connsiteX1" fmla="*/ 939930 w 12192989"/>
              <a:gd name="connsiteY1" fmla="*/ 505097 h 6858003"/>
              <a:gd name="connsiteX2" fmla="*/ 934404 w 12192989"/>
              <a:gd name="connsiteY2" fmla="*/ 505097 h 6858003"/>
              <a:gd name="connsiteX3" fmla="*/ 410704 w 12192989"/>
              <a:gd name="connsiteY3" fmla="*/ 1027607 h 6858003"/>
              <a:gd name="connsiteX4" fmla="*/ 410704 w 12192989"/>
              <a:gd name="connsiteY4" fmla="*/ 6040812 h 6858003"/>
              <a:gd name="connsiteX5" fmla="*/ 410706 w 12192989"/>
              <a:gd name="connsiteY5" fmla="*/ 6040812 h 6858003"/>
              <a:gd name="connsiteX6" fmla="*/ 410706 w 12192989"/>
              <a:gd name="connsiteY6" fmla="*/ 6040813 h 6858003"/>
              <a:gd name="connsiteX7" fmla="*/ 419318 w 12192989"/>
              <a:gd name="connsiteY7" fmla="*/ 6038787 h 6858003"/>
              <a:gd name="connsiteX8" fmla="*/ 416006 w 12192989"/>
              <a:gd name="connsiteY8" fmla="*/ 6048109 h 6858003"/>
              <a:gd name="connsiteX9" fmla="*/ 425767 w 12192989"/>
              <a:gd name="connsiteY9" fmla="*/ 6045617 h 6858003"/>
              <a:gd name="connsiteX10" fmla="*/ 424882 w 12192989"/>
              <a:gd name="connsiteY10" fmla="*/ 6048108 h 6858003"/>
              <a:gd name="connsiteX11" fmla="*/ 6095432 w 12192989"/>
              <a:gd name="connsiteY11" fmla="*/ 4600308 h 6858003"/>
              <a:gd name="connsiteX12" fmla="*/ 6084867 w 12192989"/>
              <a:gd name="connsiteY12" fmla="*/ 4600308 h 6858003"/>
              <a:gd name="connsiteX13" fmla="*/ 7513412 w 12192989"/>
              <a:gd name="connsiteY13" fmla="*/ 3642276 h 6858003"/>
              <a:gd name="connsiteX14" fmla="*/ 7513412 w 12192989"/>
              <a:gd name="connsiteY14" fmla="*/ 505097 h 6858003"/>
              <a:gd name="connsiteX15" fmla="*/ 7513410 w 12192989"/>
              <a:gd name="connsiteY15" fmla="*/ 505097 h 6858003"/>
              <a:gd name="connsiteX16" fmla="*/ 7513410 w 12192989"/>
              <a:gd name="connsiteY16" fmla="*/ 505096 h 6858003"/>
              <a:gd name="connsiteX17" fmla="*/ 0 w 12192989"/>
              <a:gd name="connsiteY17" fmla="*/ 0 h 6858003"/>
              <a:gd name="connsiteX18" fmla="*/ 12192989 w 12192989"/>
              <a:gd name="connsiteY18" fmla="*/ 0 h 6858003"/>
              <a:gd name="connsiteX19" fmla="*/ 12192989 w 12192989"/>
              <a:gd name="connsiteY19" fmla="*/ 6858003 h 6858003"/>
              <a:gd name="connsiteX20" fmla="*/ 0 w 12192989"/>
              <a:gd name="connsiteY2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989" h="6858003">
                <a:moveTo>
                  <a:pt x="939930" y="505096"/>
                </a:moveTo>
                <a:lnTo>
                  <a:pt x="939930" y="505097"/>
                </a:lnTo>
                <a:lnTo>
                  <a:pt x="934404" y="505097"/>
                </a:lnTo>
                <a:lnTo>
                  <a:pt x="410704" y="1027607"/>
                </a:lnTo>
                <a:lnTo>
                  <a:pt x="410704" y="6040812"/>
                </a:lnTo>
                <a:lnTo>
                  <a:pt x="410706" y="6040812"/>
                </a:lnTo>
                <a:lnTo>
                  <a:pt x="410706" y="6040813"/>
                </a:lnTo>
                <a:lnTo>
                  <a:pt x="419318" y="6038787"/>
                </a:lnTo>
                <a:lnTo>
                  <a:pt x="416006" y="6048109"/>
                </a:lnTo>
                <a:lnTo>
                  <a:pt x="425767" y="6045617"/>
                </a:lnTo>
                <a:lnTo>
                  <a:pt x="424882" y="6048108"/>
                </a:lnTo>
                <a:lnTo>
                  <a:pt x="6095432" y="4600308"/>
                </a:lnTo>
                <a:lnTo>
                  <a:pt x="6084867" y="4600308"/>
                </a:lnTo>
                <a:lnTo>
                  <a:pt x="7513412" y="3642276"/>
                </a:lnTo>
                <a:lnTo>
                  <a:pt x="7513412" y="505097"/>
                </a:lnTo>
                <a:lnTo>
                  <a:pt x="7513410" y="505097"/>
                </a:lnTo>
                <a:lnTo>
                  <a:pt x="7513410" y="505096"/>
                </a:lnTo>
                <a:close/>
                <a:moveTo>
                  <a:pt x="0" y="0"/>
                </a:moveTo>
                <a:lnTo>
                  <a:pt x="12192989" y="0"/>
                </a:lnTo>
                <a:lnTo>
                  <a:pt x="12192989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1908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0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14" name="Datum">
            <a:extLst>
              <a:ext uri="{FF2B5EF4-FFF2-40B4-BE49-F238E27FC236}">
                <a16:creationId xmlns:a16="http://schemas.microsoft.com/office/drawing/2014/main" id="{5C925C1E-4C03-9068-9416-6E2EB601066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363921" y="4154408"/>
            <a:ext cx="3928185" cy="26445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0E20576F-2DCB-481A-B740-A7E51BF2974B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3AF548F-F28E-8DCE-BD22-EAFF714734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363921" y="1378862"/>
            <a:ext cx="5812199" cy="2617917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 oder 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Dachzeile">
            <a:extLst>
              <a:ext uri="{FF2B5EF4-FFF2-40B4-BE49-F238E27FC236}">
                <a16:creationId xmlns:a16="http://schemas.microsoft.com/office/drawing/2014/main" id="{C3FB2B13-2346-4892-983B-6BC336FAE66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63921" y="1016768"/>
            <a:ext cx="5812199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441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738566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5 | Grün/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1FFD5FF-C942-9FEC-196B-42ED6E8831D0}"/>
              </a:ext>
            </a:extLst>
          </p:cNvPr>
          <p:cNvGrpSpPr/>
          <p:nvPr userDrawn="1"/>
        </p:nvGrpSpPr>
        <p:grpSpPr>
          <a:xfrm>
            <a:off x="352702" y="440668"/>
            <a:ext cx="7250700" cy="5787322"/>
            <a:chOff x="352702" y="440668"/>
            <a:chExt cx="7250700" cy="578732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1FCB943-79E4-F988-AA2B-0C3414286FBE}"/>
                </a:ext>
              </a:extLst>
            </p:cNvPr>
            <p:cNvSpPr/>
            <p:nvPr userDrawn="1"/>
          </p:nvSpPr>
          <p:spPr>
            <a:xfrm flipH="1">
              <a:off x="352702" y="463854"/>
              <a:ext cx="575299" cy="5764136"/>
            </a:xfrm>
            <a:custGeom>
              <a:avLst/>
              <a:gdLst>
                <a:gd name="connsiteX0" fmla="*/ 345 w 575299"/>
                <a:gd name="connsiteY0" fmla="*/ 4154307 h 5764136"/>
                <a:gd name="connsiteX1" fmla="*/ 1484 w 575299"/>
                <a:gd name="connsiteY1" fmla="*/ 4154309 h 5764136"/>
                <a:gd name="connsiteX2" fmla="*/ 2757 w 575299"/>
                <a:gd name="connsiteY2" fmla="*/ 4157710 h 5764136"/>
                <a:gd name="connsiteX3" fmla="*/ 0 w 575299"/>
                <a:gd name="connsiteY3" fmla="*/ 0 h 5764136"/>
                <a:gd name="connsiteX4" fmla="*/ 0 w 575299"/>
                <a:gd name="connsiteY4" fmla="*/ 4154768 h 5764136"/>
                <a:gd name="connsiteX5" fmla="*/ 334737 w 575299"/>
                <a:gd name="connsiteY5" fmla="*/ 5090937 h 5764136"/>
                <a:gd name="connsiteX6" fmla="*/ 570821 w 575299"/>
                <a:gd name="connsiteY6" fmla="*/ 5764136 h 5764136"/>
                <a:gd name="connsiteX7" fmla="*/ 575299 w 575299"/>
                <a:gd name="connsiteY7" fmla="*/ 5764136 h 5764136"/>
                <a:gd name="connsiteX8" fmla="*/ 575299 w 575299"/>
                <a:gd name="connsiteY8" fmla="*/ 549851 h 576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299" h="5764136">
                  <a:moveTo>
                    <a:pt x="345" y="4154307"/>
                  </a:moveTo>
                  <a:lnTo>
                    <a:pt x="1484" y="4154309"/>
                  </a:lnTo>
                  <a:lnTo>
                    <a:pt x="2757" y="4157710"/>
                  </a:lnTo>
                  <a:close/>
                  <a:moveTo>
                    <a:pt x="0" y="0"/>
                  </a:moveTo>
                  <a:lnTo>
                    <a:pt x="0" y="4154768"/>
                  </a:lnTo>
                  <a:lnTo>
                    <a:pt x="334737" y="5090937"/>
                  </a:lnTo>
                  <a:lnTo>
                    <a:pt x="570821" y="5764136"/>
                  </a:lnTo>
                  <a:lnTo>
                    <a:pt x="575299" y="5764136"/>
                  </a:lnTo>
                  <a:lnTo>
                    <a:pt x="575299" y="549851"/>
                  </a:lnTo>
                  <a:close/>
                </a:path>
              </a:pathLst>
            </a:custGeom>
            <a:solidFill>
              <a:srgbClr val="10065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B2BCC82-D8D8-D92A-84BA-A0D59FE41087}"/>
                </a:ext>
              </a:extLst>
            </p:cNvPr>
            <p:cNvSpPr/>
            <p:nvPr userDrawn="1"/>
          </p:nvSpPr>
          <p:spPr>
            <a:xfrm>
              <a:off x="356915" y="4589820"/>
              <a:ext cx="5869251" cy="1611488"/>
            </a:xfrm>
            <a:custGeom>
              <a:avLst/>
              <a:gdLst>
                <a:gd name="connsiteX0" fmla="*/ 572649 w 5869251"/>
                <a:gd name="connsiteY0" fmla="*/ 9328 h 1611488"/>
                <a:gd name="connsiteX1" fmla="*/ 570237 w 5869251"/>
                <a:gd name="connsiteY1" fmla="*/ 12702 h 1611488"/>
                <a:gd name="connsiteX2" fmla="*/ 571510 w 5869251"/>
                <a:gd name="connsiteY2" fmla="*/ 9330 h 1611488"/>
                <a:gd name="connsiteX3" fmla="*/ 5869251 w 5869251"/>
                <a:gd name="connsiteY3" fmla="*/ 0 h 1611488"/>
                <a:gd name="connsiteX4" fmla="*/ 0 w 5869251"/>
                <a:gd name="connsiteY4" fmla="*/ 1611488 h 1611488"/>
                <a:gd name="connsiteX5" fmla="*/ 238257 w 5869251"/>
                <a:gd name="connsiteY5" fmla="*/ 937921 h 1611488"/>
                <a:gd name="connsiteX6" fmla="*/ 573159 w 5869251"/>
                <a:gd name="connsiteY6" fmla="*/ 9327 h 161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251" h="1611488">
                  <a:moveTo>
                    <a:pt x="572649" y="9328"/>
                  </a:moveTo>
                  <a:lnTo>
                    <a:pt x="570237" y="12702"/>
                  </a:lnTo>
                  <a:lnTo>
                    <a:pt x="571510" y="9330"/>
                  </a:lnTo>
                  <a:close/>
                  <a:moveTo>
                    <a:pt x="5869251" y="0"/>
                  </a:moveTo>
                  <a:lnTo>
                    <a:pt x="0" y="1611488"/>
                  </a:lnTo>
                  <a:lnTo>
                    <a:pt x="238257" y="937921"/>
                  </a:lnTo>
                  <a:lnTo>
                    <a:pt x="573159" y="9327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E18F161-788C-179C-3A31-C8C7384B0528}"/>
                </a:ext>
              </a:extLst>
            </p:cNvPr>
            <p:cNvSpPr/>
            <p:nvPr userDrawn="1"/>
          </p:nvSpPr>
          <p:spPr>
            <a:xfrm>
              <a:off x="936638" y="440668"/>
              <a:ext cx="6666764" cy="4159638"/>
            </a:xfrm>
            <a:custGeom>
              <a:avLst/>
              <a:gdLst>
                <a:gd name="connsiteX0" fmla="*/ 0 w 6666764"/>
                <a:gd name="connsiteY0" fmla="*/ 0 h 4159638"/>
                <a:gd name="connsiteX1" fmla="*/ 6666764 w 6666764"/>
                <a:gd name="connsiteY1" fmla="*/ 0 h 4159638"/>
                <a:gd name="connsiteX2" fmla="*/ 6666764 w 6666764"/>
                <a:gd name="connsiteY2" fmla="*/ 3216515 h 4159638"/>
                <a:gd name="connsiteX3" fmla="*/ 5287621 w 6666764"/>
                <a:gd name="connsiteY3" fmla="*/ 4159638 h 4159638"/>
                <a:gd name="connsiteX4" fmla="*/ 0 w 6666764"/>
                <a:gd name="connsiteY4" fmla="*/ 4159638 h 415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6764" h="4159638">
                  <a:moveTo>
                    <a:pt x="0" y="0"/>
                  </a:moveTo>
                  <a:lnTo>
                    <a:pt x="6666764" y="0"/>
                  </a:lnTo>
                  <a:lnTo>
                    <a:pt x="6666764" y="3216515"/>
                  </a:lnTo>
                  <a:lnTo>
                    <a:pt x="5287621" y="4159638"/>
                  </a:lnTo>
                  <a:lnTo>
                    <a:pt x="0" y="4159638"/>
                  </a:lnTo>
                  <a:close/>
                </a:path>
              </a:pathLst>
            </a:custGeom>
            <a:solidFill>
              <a:srgbClr val="FFFFF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FFAD00"/>
                </a:solidFill>
              </a:endParaRPr>
            </a:p>
          </p:txBody>
        </p:sp>
      </p:grp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8BD1A78E-41E4-1192-8B8B-EDAC2DF849C1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-3294" y="-3"/>
            <a:ext cx="12192989" cy="6858003"/>
          </a:xfrm>
          <a:custGeom>
            <a:avLst/>
            <a:gdLst>
              <a:gd name="connsiteX0" fmla="*/ 939930 w 12192989"/>
              <a:gd name="connsiteY0" fmla="*/ 505096 h 6858003"/>
              <a:gd name="connsiteX1" fmla="*/ 939930 w 12192989"/>
              <a:gd name="connsiteY1" fmla="*/ 505097 h 6858003"/>
              <a:gd name="connsiteX2" fmla="*/ 934404 w 12192989"/>
              <a:gd name="connsiteY2" fmla="*/ 505097 h 6858003"/>
              <a:gd name="connsiteX3" fmla="*/ 410704 w 12192989"/>
              <a:gd name="connsiteY3" fmla="*/ 1027607 h 6858003"/>
              <a:gd name="connsiteX4" fmla="*/ 410704 w 12192989"/>
              <a:gd name="connsiteY4" fmla="*/ 6040812 h 6858003"/>
              <a:gd name="connsiteX5" fmla="*/ 410706 w 12192989"/>
              <a:gd name="connsiteY5" fmla="*/ 6040812 h 6858003"/>
              <a:gd name="connsiteX6" fmla="*/ 410706 w 12192989"/>
              <a:gd name="connsiteY6" fmla="*/ 6040813 h 6858003"/>
              <a:gd name="connsiteX7" fmla="*/ 419318 w 12192989"/>
              <a:gd name="connsiteY7" fmla="*/ 6038787 h 6858003"/>
              <a:gd name="connsiteX8" fmla="*/ 416006 w 12192989"/>
              <a:gd name="connsiteY8" fmla="*/ 6048109 h 6858003"/>
              <a:gd name="connsiteX9" fmla="*/ 425767 w 12192989"/>
              <a:gd name="connsiteY9" fmla="*/ 6045617 h 6858003"/>
              <a:gd name="connsiteX10" fmla="*/ 424882 w 12192989"/>
              <a:gd name="connsiteY10" fmla="*/ 6048108 h 6858003"/>
              <a:gd name="connsiteX11" fmla="*/ 6095432 w 12192989"/>
              <a:gd name="connsiteY11" fmla="*/ 4600308 h 6858003"/>
              <a:gd name="connsiteX12" fmla="*/ 6084867 w 12192989"/>
              <a:gd name="connsiteY12" fmla="*/ 4600308 h 6858003"/>
              <a:gd name="connsiteX13" fmla="*/ 7513412 w 12192989"/>
              <a:gd name="connsiteY13" fmla="*/ 3642276 h 6858003"/>
              <a:gd name="connsiteX14" fmla="*/ 7513412 w 12192989"/>
              <a:gd name="connsiteY14" fmla="*/ 505097 h 6858003"/>
              <a:gd name="connsiteX15" fmla="*/ 7513410 w 12192989"/>
              <a:gd name="connsiteY15" fmla="*/ 505097 h 6858003"/>
              <a:gd name="connsiteX16" fmla="*/ 7513410 w 12192989"/>
              <a:gd name="connsiteY16" fmla="*/ 505096 h 6858003"/>
              <a:gd name="connsiteX17" fmla="*/ 0 w 12192989"/>
              <a:gd name="connsiteY17" fmla="*/ 0 h 6858003"/>
              <a:gd name="connsiteX18" fmla="*/ 12192989 w 12192989"/>
              <a:gd name="connsiteY18" fmla="*/ 0 h 6858003"/>
              <a:gd name="connsiteX19" fmla="*/ 12192989 w 12192989"/>
              <a:gd name="connsiteY19" fmla="*/ 6858003 h 6858003"/>
              <a:gd name="connsiteX20" fmla="*/ 0 w 12192989"/>
              <a:gd name="connsiteY2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989" h="6858003">
                <a:moveTo>
                  <a:pt x="939930" y="505096"/>
                </a:moveTo>
                <a:lnTo>
                  <a:pt x="939930" y="505097"/>
                </a:lnTo>
                <a:lnTo>
                  <a:pt x="934404" y="505097"/>
                </a:lnTo>
                <a:lnTo>
                  <a:pt x="410704" y="1027607"/>
                </a:lnTo>
                <a:lnTo>
                  <a:pt x="410704" y="6040812"/>
                </a:lnTo>
                <a:lnTo>
                  <a:pt x="410706" y="6040812"/>
                </a:lnTo>
                <a:lnTo>
                  <a:pt x="410706" y="6040813"/>
                </a:lnTo>
                <a:lnTo>
                  <a:pt x="419318" y="6038787"/>
                </a:lnTo>
                <a:lnTo>
                  <a:pt x="416006" y="6048109"/>
                </a:lnTo>
                <a:lnTo>
                  <a:pt x="425767" y="6045617"/>
                </a:lnTo>
                <a:lnTo>
                  <a:pt x="424882" y="6048108"/>
                </a:lnTo>
                <a:lnTo>
                  <a:pt x="6095432" y="4600308"/>
                </a:lnTo>
                <a:lnTo>
                  <a:pt x="6084867" y="4600308"/>
                </a:lnTo>
                <a:lnTo>
                  <a:pt x="7513412" y="3642276"/>
                </a:lnTo>
                <a:lnTo>
                  <a:pt x="7513412" y="505097"/>
                </a:lnTo>
                <a:lnTo>
                  <a:pt x="7513410" y="505097"/>
                </a:lnTo>
                <a:lnTo>
                  <a:pt x="7513410" y="505096"/>
                </a:lnTo>
                <a:close/>
                <a:moveTo>
                  <a:pt x="0" y="0"/>
                </a:moveTo>
                <a:lnTo>
                  <a:pt x="12192989" y="0"/>
                </a:lnTo>
                <a:lnTo>
                  <a:pt x="12192989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1908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0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14" name="Datum">
            <a:extLst>
              <a:ext uri="{FF2B5EF4-FFF2-40B4-BE49-F238E27FC236}">
                <a16:creationId xmlns:a16="http://schemas.microsoft.com/office/drawing/2014/main" id="{5C925C1E-4C03-9068-9416-6E2EB601066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363921" y="4154408"/>
            <a:ext cx="3928185" cy="26445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BF6A9EBF-90CD-4D62-8448-CCDB8F6A7D70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3AF548F-F28E-8DCE-BD22-EAFF714734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363921" y="1378862"/>
            <a:ext cx="5812199" cy="2617917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Präsentations-Titel oder 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Dachzeile">
            <a:extLst>
              <a:ext uri="{FF2B5EF4-FFF2-40B4-BE49-F238E27FC236}">
                <a16:creationId xmlns:a16="http://schemas.microsoft.com/office/drawing/2014/main" id="{C3FB2B13-2346-4892-983B-6BC336FAE66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63921" y="1016768"/>
            <a:ext cx="5812199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730845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5 | Grün/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1FFD5FF-C942-9FEC-196B-42ED6E8831D0}"/>
              </a:ext>
            </a:extLst>
          </p:cNvPr>
          <p:cNvGrpSpPr/>
          <p:nvPr userDrawn="1"/>
        </p:nvGrpSpPr>
        <p:grpSpPr>
          <a:xfrm>
            <a:off x="352702" y="440668"/>
            <a:ext cx="7250700" cy="5787322"/>
            <a:chOff x="352702" y="440668"/>
            <a:chExt cx="7250700" cy="578732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1FCB943-79E4-F988-AA2B-0C3414286FBE}"/>
                </a:ext>
              </a:extLst>
            </p:cNvPr>
            <p:cNvSpPr/>
            <p:nvPr userDrawn="1"/>
          </p:nvSpPr>
          <p:spPr>
            <a:xfrm flipH="1">
              <a:off x="352702" y="463854"/>
              <a:ext cx="575299" cy="5764136"/>
            </a:xfrm>
            <a:custGeom>
              <a:avLst/>
              <a:gdLst>
                <a:gd name="connsiteX0" fmla="*/ 345 w 575299"/>
                <a:gd name="connsiteY0" fmla="*/ 4154307 h 5764136"/>
                <a:gd name="connsiteX1" fmla="*/ 1484 w 575299"/>
                <a:gd name="connsiteY1" fmla="*/ 4154309 h 5764136"/>
                <a:gd name="connsiteX2" fmla="*/ 2757 w 575299"/>
                <a:gd name="connsiteY2" fmla="*/ 4157710 h 5764136"/>
                <a:gd name="connsiteX3" fmla="*/ 0 w 575299"/>
                <a:gd name="connsiteY3" fmla="*/ 0 h 5764136"/>
                <a:gd name="connsiteX4" fmla="*/ 0 w 575299"/>
                <a:gd name="connsiteY4" fmla="*/ 4154768 h 5764136"/>
                <a:gd name="connsiteX5" fmla="*/ 334737 w 575299"/>
                <a:gd name="connsiteY5" fmla="*/ 5090937 h 5764136"/>
                <a:gd name="connsiteX6" fmla="*/ 570821 w 575299"/>
                <a:gd name="connsiteY6" fmla="*/ 5764136 h 5764136"/>
                <a:gd name="connsiteX7" fmla="*/ 575299 w 575299"/>
                <a:gd name="connsiteY7" fmla="*/ 5764136 h 5764136"/>
                <a:gd name="connsiteX8" fmla="*/ 575299 w 575299"/>
                <a:gd name="connsiteY8" fmla="*/ 549851 h 576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5299" h="5764136">
                  <a:moveTo>
                    <a:pt x="345" y="4154307"/>
                  </a:moveTo>
                  <a:lnTo>
                    <a:pt x="1484" y="4154309"/>
                  </a:lnTo>
                  <a:lnTo>
                    <a:pt x="2757" y="4157710"/>
                  </a:lnTo>
                  <a:close/>
                  <a:moveTo>
                    <a:pt x="0" y="0"/>
                  </a:moveTo>
                  <a:lnTo>
                    <a:pt x="0" y="4154768"/>
                  </a:lnTo>
                  <a:lnTo>
                    <a:pt x="334737" y="5090937"/>
                  </a:lnTo>
                  <a:lnTo>
                    <a:pt x="570821" y="5764136"/>
                  </a:lnTo>
                  <a:lnTo>
                    <a:pt x="575299" y="5764136"/>
                  </a:lnTo>
                  <a:lnTo>
                    <a:pt x="575299" y="549851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B2BCC82-D8D8-D92A-84BA-A0D59FE41087}"/>
                </a:ext>
              </a:extLst>
            </p:cNvPr>
            <p:cNvSpPr/>
            <p:nvPr userDrawn="1"/>
          </p:nvSpPr>
          <p:spPr>
            <a:xfrm>
              <a:off x="356915" y="4589820"/>
              <a:ext cx="5869251" cy="1611488"/>
            </a:xfrm>
            <a:custGeom>
              <a:avLst/>
              <a:gdLst>
                <a:gd name="connsiteX0" fmla="*/ 572649 w 5869251"/>
                <a:gd name="connsiteY0" fmla="*/ 9328 h 1611488"/>
                <a:gd name="connsiteX1" fmla="*/ 570237 w 5869251"/>
                <a:gd name="connsiteY1" fmla="*/ 12702 h 1611488"/>
                <a:gd name="connsiteX2" fmla="*/ 571510 w 5869251"/>
                <a:gd name="connsiteY2" fmla="*/ 9330 h 1611488"/>
                <a:gd name="connsiteX3" fmla="*/ 5869251 w 5869251"/>
                <a:gd name="connsiteY3" fmla="*/ 0 h 1611488"/>
                <a:gd name="connsiteX4" fmla="*/ 0 w 5869251"/>
                <a:gd name="connsiteY4" fmla="*/ 1611488 h 1611488"/>
                <a:gd name="connsiteX5" fmla="*/ 238257 w 5869251"/>
                <a:gd name="connsiteY5" fmla="*/ 937921 h 1611488"/>
                <a:gd name="connsiteX6" fmla="*/ 573159 w 5869251"/>
                <a:gd name="connsiteY6" fmla="*/ 9327 h 161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251" h="1611488">
                  <a:moveTo>
                    <a:pt x="572649" y="9328"/>
                  </a:moveTo>
                  <a:lnTo>
                    <a:pt x="570237" y="12702"/>
                  </a:lnTo>
                  <a:lnTo>
                    <a:pt x="571510" y="9330"/>
                  </a:lnTo>
                  <a:close/>
                  <a:moveTo>
                    <a:pt x="5869251" y="0"/>
                  </a:moveTo>
                  <a:lnTo>
                    <a:pt x="0" y="1611488"/>
                  </a:lnTo>
                  <a:lnTo>
                    <a:pt x="238257" y="937921"/>
                  </a:lnTo>
                  <a:lnTo>
                    <a:pt x="573159" y="9327"/>
                  </a:lnTo>
                  <a:close/>
                </a:path>
              </a:pathLst>
            </a:custGeom>
            <a:solidFill>
              <a:srgbClr val="10A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E18F161-788C-179C-3A31-C8C7384B0528}"/>
                </a:ext>
              </a:extLst>
            </p:cNvPr>
            <p:cNvSpPr/>
            <p:nvPr userDrawn="1"/>
          </p:nvSpPr>
          <p:spPr>
            <a:xfrm>
              <a:off x="936638" y="440668"/>
              <a:ext cx="6666764" cy="4159638"/>
            </a:xfrm>
            <a:custGeom>
              <a:avLst/>
              <a:gdLst>
                <a:gd name="connsiteX0" fmla="*/ 0 w 6666764"/>
                <a:gd name="connsiteY0" fmla="*/ 0 h 4159638"/>
                <a:gd name="connsiteX1" fmla="*/ 6666764 w 6666764"/>
                <a:gd name="connsiteY1" fmla="*/ 0 h 4159638"/>
                <a:gd name="connsiteX2" fmla="*/ 6666764 w 6666764"/>
                <a:gd name="connsiteY2" fmla="*/ 3216515 h 4159638"/>
                <a:gd name="connsiteX3" fmla="*/ 5287621 w 6666764"/>
                <a:gd name="connsiteY3" fmla="*/ 4159638 h 4159638"/>
                <a:gd name="connsiteX4" fmla="*/ 0 w 6666764"/>
                <a:gd name="connsiteY4" fmla="*/ 4159638 h 415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6764" h="4159638">
                  <a:moveTo>
                    <a:pt x="0" y="0"/>
                  </a:moveTo>
                  <a:lnTo>
                    <a:pt x="6666764" y="0"/>
                  </a:lnTo>
                  <a:lnTo>
                    <a:pt x="6666764" y="3216515"/>
                  </a:lnTo>
                  <a:lnTo>
                    <a:pt x="5287621" y="4159638"/>
                  </a:lnTo>
                  <a:lnTo>
                    <a:pt x="0" y="4159638"/>
                  </a:lnTo>
                  <a:close/>
                </a:path>
              </a:pathLst>
            </a:custGeom>
            <a:solidFill>
              <a:srgbClr val="FFFFF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>
                <a:solidFill>
                  <a:srgbClr val="FFAD00"/>
                </a:solidFill>
              </a:endParaRPr>
            </a:p>
          </p:txBody>
        </p:sp>
      </p:grpSp>
      <p:sp>
        <p:nvSpPr>
          <p:cNvPr id="3" name="Bild-Platzhalter">
            <a:extLst>
              <a:ext uri="{FF2B5EF4-FFF2-40B4-BE49-F238E27FC236}">
                <a16:creationId xmlns:a16="http://schemas.microsoft.com/office/drawing/2014/main" id="{8BD1A78E-41E4-1192-8B8B-EDAC2DF849C1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-3294" y="-3"/>
            <a:ext cx="12192989" cy="6858003"/>
          </a:xfrm>
          <a:custGeom>
            <a:avLst/>
            <a:gdLst>
              <a:gd name="connsiteX0" fmla="*/ 939930 w 12192989"/>
              <a:gd name="connsiteY0" fmla="*/ 505096 h 6858003"/>
              <a:gd name="connsiteX1" fmla="*/ 939930 w 12192989"/>
              <a:gd name="connsiteY1" fmla="*/ 505097 h 6858003"/>
              <a:gd name="connsiteX2" fmla="*/ 934404 w 12192989"/>
              <a:gd name="connsiteY2" fmla="*/ 505097 h 6858003"/>
              <a:gd name="connsiteX3" fmla="*/ 410704 w 12192989"/>
              <a:gd name="connsiteY3" fmla="*/ 1027607 h 6858003"/>
              <a:gd name="connsiteX4" fmla="*/ 410704 w 12192989"/>
              <a:gd name="connsiteY4" fmla="*/ 6040812 h 6858003"/>
              <a:gd name="connsiteX5" fmla="*/ 410706 w 12192989"/>
              <a:gd name="connsiteY5" fmla="*/ 6040812 h 6858003"/>
              <a:gd name="connsiteX6" fmla="*/ 410706 w 12192989"/>
              <a:gd name="connsiteY6" fmla="*/ 6040813 h 6858003"/>
              <a:gd name="connsiteX7" fmla="*/ 419318 w 12192989"/>
              <a:gd name="connsiteY7" fmla="*/ 6038787 h 6858003"/>
              <a:gd name="connsiteX8" fmla="*/ 416006 w 12192989"/>
              <a:gd name="connsiteY8" fmla="*/ 6048109 h 6858003"/>
              <a:gd name="connsiteX9" fmla="*/ 425767 w 12192989"/>
              <a:gd name="connsiteY9" fmla="*/ 6045617 h 6858003"/>
              <a:gd name="connsiteX10" fmla="*/ 424882 w 12192989"/>
              <a:gd name="connsiteY10" fmla="*/ 6048108 h 6858003"/>
              <a:gd name="connsiteX11" fmla="*/ 6095432 w 12192989"/>
              <a:gd name="connsiteY11" fmla="*/ 4600308 h 6858003"/>
              <a:gd name="connsiteX12" fmla="*/ 6084867 w 12192989"/>
              <a:gd name="connsiteY12" fmla="*/ 4600308 h 6858003"/>
              <a:gd name="connsiteX13" fmla="*/ 7513412 w 12192989"/>
              <a:gd name="connsiteY13" fmla="*/ 3642276 h 6858003"/>
              <a:gd name="connsiteX14" fmla="*/ 7513412 w 12192989"/>
              <a:gd name="connsiteY14" fmla="*/ 505097 h 6858003"/>
              <a:gd name="connsiteX15" fmla="*/ 7513410 w 12192989"/>
              <a:gd name="connsiteY15" fmla="*/ 505097 h 6858003"/>
              <a:gd name="connsiteX16" fmla="*/ 7513410 w 12192989"/>
              <a:gd name="connsiteY16" fmla="*/ 505096 h 6858003"/>
              <a:gd name="connsiteX17" fmla="*/ 0 w 12192989"/>
              <a:gd name="connsiteY17" fmla="*/ 0 h 6858003"/>
              <a:gd name="connsiteX18" fmla="*/ 12192989 w 12192989"/>
              <a:gd name="connsiteY18" fmla="*/ 0 h 6858003"/>
              <a:gd name="connsiteX19" fmla="*/ 12192989 w 12192989"/>
              <a:gd name="connsiteY19" fmla="*/ 6858003 h 6858003"/>
              <a:gd name="connsiteX20" fmla="*/ 0 w 12192989"/>
              <a:gd name="connsiteY20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989" h="6858003">
                <a:moveTo>
                  <a:pt x="939930" y="505096"/>
                </a:moveTo>
                <a:lnTo>
                  <a:pt x="939930" y="505097"/>
                </a:lnTo>
                <a:lnTo>
                  <a:pt x="934404" y="505097"/>
                </a:lnTo>
                <a:lnTo>
                  <a:pt x="410704" y="1027607"/>
                </a:lnTo>
                <a:lnTo>
                  <a:pt x="410704" y="6040812"/>
                </a:lnTo>
                <a:lnTo>
                  <a:pt x="410706" y="6040812"/>
                </a:lnTo>
                <a:lnTo>
                  <a:pt x="410706" y="6040813"/>
                </a:lnTo>
                <a:lnTo>
                  <a:pt x="419318" y="6038787"/>
                </a:lnTo>
                <a:lnTo>
                  <a:pt x="416006" y="6048109"/>
                </a:lnTo>
                <a:lnTo>
                  <a:pt x="425767" y="6045617"/>
                </a:lnTo>
                <a:lnTo>
                  <a:pt x="424882" y="6048108"/>
                </a:lnTo>
                <a:lnTo>
                  <a:pt x="6095432" y="4600308"/>
                </a:lnTo>
                <a:lnTo>
                  <a:pt x="6084867" y="4600308"/>
                </a:lnTo>
                <a:lnTo>
                  <a:pt x="7513412" y="3642276"/>
                </a:lnTo>
                <a:lnTo>
                  <a:pt x="7513412" y="505097"/>
                </a:lnTo>
                <a:lnTo>
                  <a:pt x="7513410" y="505097"/>
                </a:lnTo>
                <a:lnTo>
                  <a:pt x="7513410" y="505096"/>
                </a:lnTo>
                <a:close/>
                <a:moveTo>
                  <a:pt x="0" y="0"/>
                </a:moveTo>
                <a:lnTo>
                  <a:pt x="12192989" y="0"/>
                </a:lnTo>
                <a:lnTo>
                  <a:pt x="12192989" y="6858003"/>
                </a:lnTo>
                <a:lnTo>
                  <a:pt x="0" y="6858003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1908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0" y="6642000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6" name="Logo-Platzhalter">
            <a:extLst>
              <a:ext uri="{FF2B5EF4-FFF2-40B4-BE49-F238E27FC236}">
                <a16:creationId xmlns:a16="http://schemas.microsoft.com/office/drawing/2014/main" id="{47665E48-E26E-24F2-85E5-F149AA2FAC96}"/>
              </a:ext>
            </a:extLst>
          </p:cNvPr>
          <p:cNvSpPr>
            <a:spLocks noGrp="1" noChangeAspect="1"/>
          </p:cNvSpPr>
          <p:nvPr userDrawn="1">
            <p:ph type="pic" sz="quarter" idx="27" hasCustomPrompt="1"/>
          </p:nvPr>
        </p:nvSpPr>
        <p:spPr>
          <a:xfrm>
            <a:off x="10392000" y="5486400"/>
            <a:ext cx="1800000" cy="1371600"/>
          </a:xfrm>
        </p:spPr>
        <p:txBody>
          <a:bodyPr tIns="108000" anchor="t" anchorCtr="0"/>
          <a:lstStyle>
            <a:lvl1pPr marL="0" indent="0" algn="ctr">
              <a:buNone/>
              <a:defRPr sz="20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Logo (</a:t>
            </a:r>
            <a:r>
              <a:rPr lang="de-DE" dirty="0" err="1"/>
              <a:t>o.Claim</a:t>
            </a:r>
            <a:r>
              <a:rPr lang="de-DE" dirty="0"/>
              <a:t>) einfügen!</a:t>
            </a:r>
          </a:p>
        </p:txBody>
      </p:sp>
      <p:sp>
        <p:nvSpPr>
          <p:cNvPr id="14" name="Datum">
            <a:extLst>
              <a:ext uri="{FF2B5EF4-FFF2-40B4-BE49-F238E27FC236}">
                <a16:creationId xmlns:a16="http://schemas.microsoft.com/office/drawing/2014/main" id="{5C925C1E-4C03-9068-9416-6E2EB601066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363921" y="4154408"/>
            <a:ext cx="3928185" cy="26445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600" b="0" i="0">
                <a:solidFill>
                  <a:srgbClr val="10069F"/>
                </a:solidFill>
                <a:latin typeface="Source Sans Pro" panose="020B0503030403020204" pitchFamily="34" charset="0"/>
              </a:defRPr>
            </a:lvl1pPr>
          </a:lstStyle>
          <a:p>
            <a:fld id="{117312FE-F90F-4D08-A1EF-272335E20566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3AF548F-F28E-8DCE-BD22-EAFF714734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363921" y="1378862"/>
            <a:ext cx="5812199" cy="2617917"/>
          </a:xfrm>
        </p:spPr>
        <p:txBody>
          <a:bodyPr anchor="t" anchorCtr="0"/>
          <a:lstStyle>
            <a:lvl1pPr>
              <a:defRPr sz="3200" spc="50" baseline="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Präsentations-Titel oder Zwischentitel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Dachzeile">
            <a:extLst>
              <a:ext uri="{FF2B5EF4-FFF2-40B4-BE49-F238E27FC236}">
                <a16:creationId xmlns:a16="http://schemas.microsoft.com/office/drawing/2014/main" id="{C3FB2B13-2346-4892-983B-6BC336FAE66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63921" y="1016768"/>
            <a:ext cx="5812199" cy="324000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5031812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a |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-Platzhalter">
            <a:extLst>
              <a:ext uri="{FF2B5EF4-FFF2-40B4-BE49-F238E27FC236}">
                <a16:creationId xmlns:a16="http://schemas.microsoft.com/office/drawing/2014/main" id="{8A3E3742-BC75-B51E-9A18-BA705E401F9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3792" y="0"/>
            <a:ext cx="7968208" cy="6858000"/>
          </a:xfrm>
          <a:custGeom>
            <a:avLst/>
            <a:gdLst>
              <a:gd name="connsiteX0" fmla="*/ 1872208 w 7968208"/>
              <a:gd name="connsiteY0" fmla="*/ 0 h 6858000"/>
              <a:gd name="connsiteX1" fmla="*/ 7968208 w 7968208"/>
              <a:gd name="connsiteY1" fmla="*/ 0 h 6858000"/>
              <a:gd name="connsiteX2" fmla="*/ 7968208 w 7968208"/>
              <a:gd name="connsiteY2" fmla="*/ 6858000 h 6858000"/>
              <a:gd name="connsiteX3" fmla="*/ 1872208 w 7968208"/>
              <a:gd name="connsiteY3" fmla="*/ 6858000 h 6858000"/>
              <a:gd name="connsiteX4" fmla="*/ 0 w 7968208"/>
              <a:gd name="connsiteY4" fmla="*/ 6858000 h 6858000"/>
              <a:gd name="connsiteX5" fmla="*/ 1872208 w 7968208"/>
              <a:gd name="connsiteY5" fmla="*/ 56612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8208" h="6858000">
                <a:moveTo>
                  <a:pt x="1872208" y="0"/>
                </a:moveTo>
                <a:lnTo>
                  <a:pt x="7968208" y="0"/>
                </a:lnTo>
                <a:lnTo>
                  <a:pt x="7968208" y="6858000"/>
                </a:lnTo>
                <a:lnTo>
                  <a:pt x="1872208" y="6858000"/>
                </a:lnTo>
                <a:lnTo>
                  <a:pt x="0" y="6858000"/>
                </a:lnTo>
                <a:lnTo>
                  <a:pt x="1872208" y="5661248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1224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9C4B5F6D-5216-9702-2DE4-D459EB5F0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96200" y="6637844"/>
            <a:ext cx="4248472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" y="5390657"/>
            <a:ext cx="1925301" cy="1467342"/>
          </a:xfrm>
          <a:prstGeom prst="rect">
            <a:avLst/>
          </a:prstGeom>
        </p:spPr>
      </p:pic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1196752"/>
            <a:ext cx="5472608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850763"/>
            <a:ext cx="5472608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4037608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V1 / Gruß | Violett/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5AD65CD3-0C39-5E09-2B52-B2725792D9FB}"/>
              </a:ext>
            </a:extLst>
          </p:cNvPr>
          <p:cNvSpPr/>
          <p:nvPr userDrawn="1"/>
        </p:nvSpPr>
        <p:spPr>
          <a:xfrm flipH="1">
            <a:off x="9592633" y="3796751"/>
            <a:ext cx="2599367" cy="2756801"/>
          </a:xfrm>
          <a:custGeom>
            <a:avLst/>
            <a:gdLst>
              <a:gd name="connsiteX0" fmla="*/ 0 w 2599367"/>
              <a:gd name="connsiteY0" fmla="*/ 0 h 2756801"/>
              <a:gd name="connsiteX1" fmla="*/ 0 w 2599367"/>
              <a:gd name="connsiteY1" fmla="*/ 2756801 h 2756801"/>
              <a:gd name="connsiteX2" fmla="*/ 2599367 w 2599367"/>
              <a:gd name="connsiteY2" fmla="*/ 2756801 h 275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9367" h="2756801">
                <a:moveTo>
                  <a:pt x="0" y="0"/>
                </a:moveTo>
                <a:lnTo>
                  <a:pt x="0" y="2756801"/>
                </a:lnTo>
                <a:lnTo>
                  <a:pt x="2599367" y="2756801"/>
                </a:lnTo>
                <a:close/>
              </a:path>
            </a:pathLst>
          </a:custGeom>
          <a:solidFill>
            <a:srgbClr val="8C3E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latin typeface="Montserrat" pitchFamily="2" charset="0"/>
            </a:endParaRPr>
          </a:p>
        </p:txBody>
      </p:sp>
      <p:sp>
        <p:nvSpPr>
          <p:cNvPr id="10" name="Bild-Platzhalter">
            <a:extLst>
              <a:ext uri="{FF2B5EF4-FFF2-40B4-BE49-F238E27FC236}">
                <a16:creationId xmlns:a16="http://schemas.microsoft.com/office/drawing/2014/main" id="{5A54012B-6140-0B0F-F472-6FB0A4D01FB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84549" cy="6892124"/>
          </a:xfrm>
          <a:custGeom>
            <a:avLst/>
            <a:gdLst>
              <a:gd name="connsiteX0" fmla="*/ 0 w 12184549"/>
              <a:gd name="connsiteY0" fmla="*/ 6525347 h 6892124"/>
              <a:gd name="connsiteX1" fmla="*/ 20776 w 12184549"/>
              <a:gd name="connsiteY1" fmla="*/ 6525347 h 6892124"/>
              <a:gd name="connsiteX2" fmla="*/ 20776 w 12184549"/>
              <a:gd name="connsiteY2" fmla="*/ 6535870 h 6892124"/>
              <a:gd name="connsiteX3" fmla="*/ 12184549 w 12184549"/>
              <a:gd name="connsiteY3" fmla="*/ 6535870 h 6892124"/>
              <a:gd name="connsiteX4" fmla="*/ 12184549 w 12184549"/>
              <a:gd name="connsiteY4" fmla="*/ 6892124 h 6892124"/>
              <a:gd name="connsiteX5" fmla="*/ 1352 w 12184549"/>
              <a:gd name="connsiteY5" fmla="*/ 6892124 h 6892124"/>
              <a:gd name="connsiteX6" fmla="*/ 1352 w 12184549"/>
              <a:gd name="connsiteY6" fmla="*/ 6858003 h 6892124"/>
              <a:gd name="connsiteX7" fmla="*/ 0 w 12184549"/>
              <a:gd name="connsiteY7" fmla="*/ 6858003 h 6892124"/>
              <a:gd name="connsiteX8" fmla="*/ 0 w 12184549"/>
              <a:gd name="connsiteY8" fmla="*/ 0 h 6892124"/>
              <a:gd name="connsiteX9" fmla="*/ 10906801 w 12184549"/>
              <a:gd name="connsiteY9" fmla="*/ 0 h 6892124"/>
              <a:gd name="connsiteX10" fmla="*/ 7667849 w 12184549"/>
              <a:gd name="connsiteY10" fmla="*/ 3748957 h 6892124"/>
              <a:gd name="connsiteX11" fmla="*/ 20776 w 12184549"/>
              <a:gd name="connsiteY11" fmla="*/ 3748957 h 6892124"/>
              <a:gd name="connsiteX12" fmla="*/ 20776 w 12184549"/>
              <a:gd name="connsiteY12" fmla="*/ 3753039 h 6892124"/>
              <a:gd name="connsiteX13" fmla="*/ 0 w 12184549"/>
              <a:gd name="connsiteY13" fmla="*/ 3753039 h 689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4549" h="6892124">
                <a:moveTo>
                  <a:pt x="0" y="6525347"/>
                </a:moveTo>
                <a:lnTo>
                  <a:pt x="20776" y="6525347"/>
                </a:lnTo>
                <a:lnTo>
                  <a:pt x="20776" y="6535870"/>
                </a:lnTo>
                <a:lnTo>
                  <a:pt x="12184549" y="6535870"/>
                </a:lnTo>
                <a:lnTo>
                  <a:pt x="12184549" y="6892124"/>
                </a:lnTo>
                <a:lnTo>
                  <a:pt x="1352" y="6892124"/>
                </a:lnTo>
                <a:lnTo>
                  <a:pt x="1352" y="6858003"/>
                </a:lnTo>
                <a:lnTo>
                  <a:pt x="0" y="6858003"/>
                </a:lnTo>
                <a:close/>
                <a:moveTo>
                  <a:pt x="0" y="0"/>
                </a:moveTo>
                <a:lnTo>
                  <a:pt x="10906801" y="0"/>
                </a:lnTo>
                <a:lnTo>
                  <a:pt x="7667849" y="3748957"/>
                </a:lnTo>
                <a:lnTo>
                  <a:pt x="20776" y="3748957"/>
                </a:lnTo>
                <a:lnTo>
                  <a:pt x="20776" y="3753039"/>
                </a:lnTo>
                <a:lnTo>
                  <a:pt x="0" y="3753039"/>
                </a:lnTo>
                <a:close/>
              </a:path>
            </a:pathLst>
          </a:custGeom>
          <a:solidFill>
            <a:srgbClr val="F0F3F7"/>
          </a:solidFill>
        </p:spPr>
        <p:txBody>
          <a:bodyPr wrap="square" rIns="0" bIns="1260000" anchor="ctr" anchorCtr="1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5" name="Bild-Nachweis">
            <a:extLst>
              <a:ext uri="{FF2B5EF4-FFF2-40B4-BE49-F238E27FC236}">
                <a16:creationId xmlns:a16="http://schemas.microsoft.com/office/drawing/2014/main" id="{3D29FA97-D64E-B910-D641-F122D8E4E8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6624556"/>
            <a:ext cx="4326081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rgbClr val="FFFFFF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CB04E0C-D33C-6880-70E2-C48C495B7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25259" y="966418"/>
            <a:ext cx="2765859" cy="2107960"/>
          </a:xfrm>
          <a:prstGeom prst="rect">
            <a:avLst/>
          </a:prstGeom>
        </p:spPr>
      </p:pic>
      <p:sp>
        <p:nvSpPr>
          <p:cNvPr id="22" name="Zusatztext">
            <a:extLst>
              <a:ext uri="{FF2B5EF4-FFF2-40B4-BE49-F238E27FC236}">
                <a16:creationId xmlns:a16="http://schemas.microsoft.com/office/drawing/2014/main" id="{80EDA830-97D5-DEF3-D298-792D8AE9DF5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6001" y="5783343"/>
            <a:ext cx="9684455" cy="396000"/>
          </a:xfrm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lang="de-DE" sz="2800" b="1" dirty="0">
                <a:solidFill>
                  <a:srgbClr val="FFFFFF"/>
                </a:solidFill>
                <a:ea typeface="Source Sans Pro" panose="020B0503030403020204" pitchFamily="34" charset="0"/>
              </a:defRPr>
            </a:lvl1pPr>
          </a:lstStyle>
          <a:p>
            <a:pPr marL="0" lvl="0"/>
            <a:r>
              <a:rPr lang="de-DE" dirty="0"/>
              <a:t>ggf. Zusatz-Text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40918B5D-518B-65CF-89B4-3E7634163B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" y="4797152"/>
            <a:ext cx="10440539" cy="756000"/>
          </a:xfrm>
        </p:spPr>
        <p:txBody>
          <a:bodyPr vert="horz" lIns="0" tIns="36000" rIns="0" bIns="36000" rtlCol="0" anchor="ctr" anchorCtr="0">
            <a:noAutofit/>
          </a:bodyPr>
          <a:lstStyle>
            <a:lvl1pPr>
              <a:defRPr lang="de-DE" sz="4000">
                <a:solidFill>
                  <a:srgbClr val="8C3E9F"/>
                </a:solidFill>
                <a:latin typeface="Montserrat Black" pitchFamily="2" charset="0"/>
              </a:defRPr>
            </a:lvl1pPr>
          </a:lstStyle>
          <a:p>
            <a:pPr marL="0" lvl="0">
              <a:lnSpc>
                <a:spcPts val="6100"/>
              </a:lnSpc>
            </a:pPr>
            <a:r>
              <a:rPr lang="de-DE" dirty="0"/>
              <a:t>Veranstaltungs-Titel</a:t>
            </a:r>
          </a:p>
        </p:txBody>
      </p:sp>
      <p:sp>
        <p:nvSpPr>
          <p:cNvPr id="28" name="Willkommen-Platzhalter">
            <a:extLst>
              <a:ext uri="{FF2B5EF4-FFF2-40B4-BE49-F238E27FC236}">
                <a16:creationId xmlns:a16="http://schemas.microsoft.com/office/drawing/2014/main" id="{5C41DC56-6FE9-65A0-C628-BB1C086C36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6001" y="4041148"/>
            <a:ext cx="10792718" cy="720000"/>
          </a:xfrm>
        </p:spPr>
        <p:txBody>
          <a:bodyPr anchor="ctr" anchorCtr="0"/>
          <a:lstStyle>
            <a:lvl1pPr marL="0" indent="0">
              <a:buFontTx/>
              <a:buNone/>
              <a:defRPr sz="4800" cap="all" spc="50" baseline="0">
                <a:solidFill>
                  <a:srgbClr val="FFFFFF"/>
                </a:solidFill>
                <a:latin typeface="Montserrat Black" pitchFamily="2" charset="0"/>
              </a:defRPr>
            </a:lvl1pPr>
            <a:lvl2pPr marL="2873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2pPr>
            <a:lvl3pPr marL="719138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3pPr>
            <a:lvl4pPr marL="116046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4pPr>
            <a:lvl5pPr marL="1611312" indent="0">
              <a:buFontTx/>
              <a:buNone/>
              <a:defRPr sz="6000">
                <a:solidFill>
                  <a:srgbClr val="FFFFFF"/>
                </a:solidFill>
                <a:latin typeface="Gotham Black" panose="02000603040000020004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0065A"/>
              </a:buClr>
              <a:buSzTx/>
              <a:buFontTx/>
              <a:buNone/>
              <a:tabLst/>
              <a:defRPr/>
            </a:pPr>
            <a:r>
              <a:rPr lang="de-DE" dirty="0"/>
              <a:t>Grußwort</a:t>
            </a:r>
          </a:p>
        </p:txBody>
      </p:sp>
    </p:spTree>
    <p:extLst>
      <p:ext uri="{BB962C8B-B14F-4D97-AF65-F5344CB8AC3E}">
        <p14:creationId xmlns:p14="http://schemas.microsoft.com/office/powerpoint/2010/main" val="1182451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a | Weiß/Dunkel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" y="5391124"/>
            <a:ext cx="1925301" cy="1466406"/>
          </a:xfrm>
          <a:prstGeom prst="rect">
            <a:avLst/>
          </a:prstGeom>
        </p:spPr>
      </p:pic>
      <p:sp>
        <p:nvSpPr>
          <p:cNvPr id="4" name="Bild-Platzhalter">
            <a:extLst>
              <a:ext uri="{FF2B5EF4-FFF2-40B4-BE49-F238E27FC236}">
                <a16:creationId xmlns:a16="http://schemas.microsoft.com/office/drawing/2014/main" id="{8A3E3742-BC75-B51E-9A18-BA705E401F9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3792" y="0"/>
            <a:ext cx="7968208" cy="6858000"/>
          </a:xfrm>
          <a:custGeom>
            <a:avLst/>
            <a:gdLst>
              <a:gd name="connsiteX0" fmla="*/ 1872208 w 7968208"/>
              <a:gd name="connsiteY0" fmla="*/ 0 h 6858000"/>
              <a:gd name="connsiteX1" fmla="*/ 7968208 w 7968208"/>
              <a:gd name="connsiteY1" fmla="*/ 0 h 6858000"/>
              <a:gd name="connsiteX2" fmla="*/ 7968208 w 7968208"/>
              <a:gd name="connsiteY2" fmla="*/ 6858000 h 6858000"/>
              <a:gd name="connsiteX3" fmla="*/ 1872208 w 7968208"/>
              <a:gd name="connsiteY3" fmla="*/ 6858000 h 6858000"/>
              <a:gd name="connsiteX4" fmla="*/ 0 w 7968208"/>
              <a:gd name="connsiteY4" fmla="*/ 6858000 h 6858000"/>
              <a:gd name="connsiteX5" fmla="*/ 1872208 w 7968208"/>
              <a:gd name="connsiteY5" fmla="*/ 56612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8208" h="6858000">
                <a:moveTo>
                  <a:pt x="1872208" y="0"/>
                </a:moveTo>
                <a:lnTo>
                  <a:pt x="7968208" y="0"/>
                </a:lnTo>
                <a:lnTo>
                  <a:pt x="7968208" y="6858000"/>
                </a:lnTo>
                <a:lnTo>
                  <a:pt x="1872208" y="6858000"/>
                </a:lnTo>
                <a:lnTo>
                  <a:pt x="0" y="6858000"/>
                </a:lnTo>
                <a:lnTo>
                  <a:pt x="1872208" y="5661248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1224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9C4B5F6D-5216-9702-2DE4-D459EB5F0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96200" y="6637844"/>
            <a:ext cx="4248472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1196752"/>
            <a:ext cx="5472608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850763"/>
            <a:ext cx="5472608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2493861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a | Blau"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" y="5390657"/>
            <a:ext cx="1925301" cy="1467342"/>
          </a:xfrm>
          <a:prstGeom prst="rect">
            <a:avLst/>
          </a:prstGeom>
        </p:spPr>
      </p:pic>
      <p:sp>
        <p:nvSpPr>
          <p:cNvPr id="4" name="Bild-Platzhalter">
            <a:extLst>
              <a:ext uri="{FF2B5EF4-FFF2-40B4-BE49-F238E27FC236}">
                <a16:creationId xmlns:a16="http://schemas.microsoft.com/office/drawing/2014/main" id="{8A3E3742-BC75-B51E-9A18-BA705E401F9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3792" y="0"/>
            <a:ext cx="7968208" cy="6858000"/>
          </a:xfrm>
          <a:custGeom>
            <a:avLst/>
            <a:gdLst>
              <a:gd name="connsiteX0" fmla="*/ 1872208 w 7968208"/>
              <a:gd name="connsiteY0" fmla="*/ 0 h 6858000"/>
              <a:gd name="connsiteX1" fmla="*/ 7968208 w 7968208"/>
              <a:gd name="connsiteY1" fmla="*/ 0 h 6858000"/>
              <a:gd name="connsiteX2" fmla="*/ 7968208 w 7968208"/>
              <a:gd name="connsiteY2" fmla="*/ 6858000 h 6858000"/>
              <a:gd name="connsiteX3" fmla="*/ 1872208 w 7968208"/>
              <a:gd name="connsiteY3" fmla="*/ 6858000 h 6858000"/>
              <a:gd name="connsiteX4" fmla="*/ 0 w 7968208"/>
              <a:gd name="connsiteY4" fmla="*/ 6858000 h 6858000"/>
              <a:gd name="connsiteX5" fmla="*/ 1872208 w 7968208"/>
              <a:gd name="connsiteY5" fmla="*/ 56612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8208" h="6858000">
                <a:moveTo>
                  <a:pt x="1872208" y="0"/>
                </a:moveTo>
                <a:lnTo>
                  <a:pt x="7968208" y="0"/>
                </a:lnTo>
                <a:lnTo>
                  <a:pt x="7968208" y="6858000"/>
                </a:lnTo>
                <a:lnTo>
                  <a:pt x="1872208" y="6858000"/>
                </a:lnTo>
                <a:lnTo>
                  <a:pt x="0" y="6858000"/>
                </a:lnTo>
                <a:lnTo>
                  <a:pt x="1872208" y="5661248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1224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9C4B5F6D-5216-9702-2DE4-D459EB5F0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96200" y="6637844"/>
            <a:ext cx="4248472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1196752"/>
            <a:ext cx="5472608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850763"/>
            <a:ext cx="5472608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1025382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a | Weiß/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" y="5390657"/>
            <a:ext cx="1925301" cy="1467341"/>
          </a:xfrm>
          <a:prstGeom prst="rect">
            <a:avLst/>
          </a:prstGeom>
        </p:spPr>
      </p:pic>
      <p:sp>
        <p:nvSpPr>
          <p:cNvPr id="4" name="Bild-Platzhalter">
            <a:extLst>
              <a:ext uri="{FF2B5EF4-FFF2-40B4-BE49-F238E27FC236}">
                <a16:creationId xmlns:a16="http://schemas.microsoft.com/office/drawing/2014/main" id="{8A3E3742-BC75-B51E-9A18-BA705E401F9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3792" y="0"/>
            <a:ext cx="7968208" cy="6858000"/>
          </a:xfrm>
          <a:custGeom>
            <a:avLst/>
            <a:gdLst>
              <a:gd name="connsiteX0" fmla="*/ 1872208 w 7968208"/>
              <a:gd name="connsiteY0" fmla="*/ 0 h 6858000"/>
              <a:gd name="connsiteX1" fmla="*/ 7968208 w 7968208"/>
              <a:gd name="connsiteY1" fmla="*/ 0 h 6858000"/>
              <a:gd name="connsiteX2" fmla="*/ 7968208 w 7968208"/>
              <a:gd name="connsiteY2" fmla="*/ 6858000 h 6858000"/>
              <a:gd name="connsiteX3" fmla="*/ 1872208 w 7968208"/>
              <a:gd name="connsiteY3" fmla="*/ 6858000 h 6858000"/>
              <a:gd name="connsiteX4" fmla="*/ 0 w 7968208"/>
              <a:gd name="connsiteY4" fmla="*/ 6858000 h 6858000"/>
              <a:gd name="connsiteX5" fmla="*/ 1872208 w 7968208"/>
              <a:gd name="connsiteY5" fmla="*/ 56612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8208" h="6858000">
                <a:moveTo>
                  <a:pt x="1872208" y="0"/>
                </a:moveTo>
                <a:lnTo>
                  <a:pt x="7968208" y="0"/>
                </a:lnTo>
                <a:lnTo>
                  <a:pt x="7968208" y="6858000"/>
                </a:lnTo>
                <a:lnTo>
                  <a:pt x="1872208" y="6858000"/>
                </a:lnTo>
                <a:lnTo>
                  <a:pt x="0" y="6858000"/>
                </a:lnTo>
                <a:lnTo>
                  <a:pt x="1872208" y="5661248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1224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9C4B5F6D-5216-9702-2DE4-D459EB5F0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96200" y="6637844"/>
            <a:ext cx="4248472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1196752"/>
            <a:ext cx="5472608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10069F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850763"/>
            <a:ext cx="5472608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311931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a | Pink">
    <p:bg>
      <p:bgPr>
        <a:solidFill>
          <a:srgbClr val="FF3E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" y="5390657"/>
            <a:ext cx="1925300" cy="1467341"/>
          </a:xfrm>
          <a:prstGeom prst="rect">
            <a:avLst/>
          </a:prstGeom>
        </p:spPr>
      </p:pic>
      <p:sp>
        <p:nvSpPr>
          <p:cNvPr id="4" name="Bild-Platzhalter">
            <a:extLst>
              <a:ext uri="{FF2B5EF4-FFF2-40B4-BE49-F238E27FC236}">
                <a16:creationId xmlns:a16="http://schemas.microsoft.com/office/drawing/2014/main" id="{8A3E3742-BC75-B51E-9A18-BA705E401F9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3792" y="0"/>
            <a:ext cx="7968208" cy="6858000"/>
          </a:xfrm>
          <a:custGeom>
            <a:avLst/>
            <a:gdLst>
              <a:gd name="connsiteX0" fmla="*/ 1872208 w 7968208"/>
              <a:gd name="connsiteY0" fmla="*/ 0 h 6858000"/>
              <a:gd name="connsiteX1" fmla="*/ 7968208 w 7968208"/>
              <a:gd name="connsiteY1" fmla="*/ 0 h 6858000"/>
              <a:gd name="connsiteX2" fmla="*/ 7968208 w 7968208"/>
              <a:gd name="connsiteY2" fmla="*/ 6858000 h 6858000"/>
              <a:gd name="connsiteX3" fmla="*/ 1872208 w 7968208"/>
              <a:gd name="connsiteY3" fmla="*/ 6858000 h 6858000"/>
              <a:gd name="connsiteX4" fmla="*/ 0 w 7968208"/>
              <a:gd name="connsiteY4" fmla="*/ 6858000 h 6858000"/>
              <a:gd name="connsiteX5" fmla="*/ 1872208 w 7968208"/>
              <a:gd name="connsiteY5" fmla="*/ 56612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8208" h="6858000">
                <a:moveTo>
                  <a:pt x="1872208" y="0"/>
                </a:moveTo>
                <a:lnTo>
                  <a:pt x="7968208" y="0"/>
                </a:lnTo>
                <a:lnTo>
                  <a:pt x="7968208" y="6858000"/>
                </a:lnTo>
                <a:lnTo>
                  <a:pt x="1872208" y="6858000"/>
                </a:lnTo>
                <a:lnTo>
                  <a:pt x="0" y="6858000"/>
                </a:lnTo>
                <a:lnTo>
                  <a:pt x="1872208" y="5661248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1224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3EB5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9C4B5F6D-5216-9702-2DE4-D459EB5F0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96200" y="6637844"/>
            <a:ext cx="4248472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1196752"/>
            <a:ext cx="5472608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850763"/>
            <a:ext cx="5472608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</p:spTree>
    <p:extLst>
      <p:ext uri="{BB962C8B-B14F-4D97-AF65-F5344CB8AC3E}">
        <p14:creationId xmlns:p14="http://schemas.microsoft.com/office/powerpoint/2010/main" val="3336540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a | Türkis">
    <p:bg>
      <p:bgPr>
        <a:solidFill>
          <a:srgbClr val="10AD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" y="5391124"/>
            <a:ext cx="1925301" cy="1466406"/>
          </a:xfrm>
          <a:prstGeom prst="rect">
            <a:avLst/>
          </a:prstGeom>
        </p:spPr>
      </p:pic>
      <p:sp>
        <p:nvSpPr>
          <p:cNvPr id="4" name="Bild-Platzhalter">
            <a:extLst>
              <a:ext uri="{FF2B5EF4-FFF2-40B4-BE49-F238E27FC236}">
                <a16:creationId xmlns:a16="http://schemas.microsoft.com/office/drawing/2014/main" id="{8A3E3742-BC75-B51E-9A18-BA705E401F9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3792" y="0"/>
            <a:ext cx="7968208" cy="6858000"/>
          </a:xfrm>
          <a:custGeom>
            <a:avLst/>
            <a:gdLst>
              <a:gd name="connsiteX0" fmla="*/ 1872208 w 7968208"/>
              <a:gd name="connsiteY0" fmla="*/ 0 h 6858000"/>
              <a:gd name="connsiteX1" fmla="*/ 7968208 w 7968208"/>
              <a:gd name="connsiteY1" fmla="*/ 0 h 6858000"/>
              <a:gd name="connsiteX2" fmla="*/ 7968208 w 7968208"/>
              <a:gd name="connsiteY2" fmla="*/ 6858000 h 6858000"/>
              <a:gd name="connsiteX3" fmla="*/ 1872208 w 7968208"/>
              <a:gd name="connsiteY3" fmla="*/ 6858000 h 6858000"/>
              <a:gd name="connsiteX4" fmla="*/ 0 w 7968208"/>
              <a:gd name="connsiteY4" fmla="*/ 6858000 h 6858000"/>
              <a:gd name="connsiteX5" fmla="*/ 1872208 w 7968208"/>
              <a:gd name="connsiteY5" fmla="*/ 56612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8208" h="6858000">
                <a:moveTo>
                  <a:pt x="1872208" y="0"/>
                </a:moveTo>
                <a:lnTo>
                  <a:pt x="7968208" y="0"/>
                </a:lnTo>
                <a:lnTo>
                  <a:pt x="7968208" y="6858000"/>
                </a:lnTo>
                <a:lnTo>
                  <a:pt x="1872208" y="6858000"/>
                </a:lnTo>
                <a:lnTo>
                  <a:pt x="0" y="6858000"/>
                </a:lnTo>
                <a:lnTo>
                  <a:pt x="1872208" y="5661248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1224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A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1196752"/>
            <a:ext cx="5472608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850763"/>
            <a:ext cx="5472608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5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9C4B5F6D-5216-9702-2DE4-D459EB5F0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96200" y="6637844"/>
            <a:ext cx="4248472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312605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a | Violett">
    <p:bg>
      <p:bgPr>
        <a:solidFill>
          <a:srgbClr val="8C3E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" y="5390657"/>
            <a:ext cx="1925300" cy="1467340"/>
          </a:xfrm>
          <a:prstGeom prst="rect">
            <a:avLst/>
          </a:prstGeom>
        </p:spPr>
      </p:pic>
      <p:sp>
        <p:nvSpPr>
          <p:cNvPr id="4" name="Bild-Platzhalter">
            <a:extLst>
              <a:ext uri="{FF2B5EF4-FFF2-40B4-BE49-F238E27FC236}">
                <a16:creationId xmlns:a16="http://schemas.microsoft.com/office/drawing/2014/main" id="{8A3E3742-BC75-B51E-9A18-BA705E401F9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3792" y="0"/>
            <a:ext cx="7968208" cy="6858000"/>
          </a:xfrm>
          <a:custGeom>
            <a:avLst/>
            <a:gdLst>
              <a:gd name="connsiteX0" fmla="*/ 1872208 w 7968208"/>
              <a:gd name="connsiteY0" fmla="*/ 0 h 6858000"/>
              <a:gd name="connsiteX1" fmla="*/ 7968208 w 7968208"/>
              <a:gd name="connsiteY1" fmla="*/ 0 h 6858000"/>
              <a:gd name="connsiteX2" fmla="*/ 7968208 w 7968208"/>
              <a:gd name="connsiteY2" fmla="*/ 6858000 h 6858000"/>
              <a:gd name="connsiteX3" fmla="*/ 1872208 w 7968208"/>
              <a:gd name="connsiteY3" fmla="*/ 6858000 h 6858000"/>
              <a:gd name="connsiteX4" fmla="*/ 0 w 7968208"/>
              <a:gd name="connsiteY4" fmla="*/ 6858000 h 6858000"/>
              <a:gd name="connsiteX5" fmla="*/ 1872208 w 7968208"/>
              <a:gd name="connsiteY5" fmla="*/ 56612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8208" h="6858000">
                <a:moveTo>
                  <a:pt x="1872208" y="0"/>
                </a:moveTo>
                <a:lnTo>
                  <a:pt x="7968208" y="0"/>
                </a:lnTo>
                <a:lnTo>
                  <a:pt x="7968208" y="6858000"/>
                </a:lnTo>
                <a:lnTo>
                  <a:pt x="1872208" y="6858000"/>
                </a:lnTo>
                <a:lnTo>
                  <a:pt x="0" y="6858000"/>
                </a:lnTo>
                <a:lnTo>
                  <a:pt x="1872208" y="5661248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1224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1196752"/>
            <a:ext cx="5472608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850763"/>
            <a:ext cx="5472608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AD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9C4B5F6D-5216-9702-2DE4-D459EB5F0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96200" y="6637844"/>
            <a:ext cx="4248472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2092893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a | Orange">
    <p:bg>
      <p:bgPr>
        <a:solidFill>
          <a:srgbClr val="FF4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" y="5390657"/>
            <a:ext cx="1925301" cy="1467341"/>
          </a:xfrm>
          <a:prstGeom prst="rect">
            <a:avLst/>
          </a:prstGeom>
        </p:spPr>
      </p:pic>
      <p:sp>
        <p:nvSpPr>
          <p:cNvPr id="4" name="Bild-Platzhalter">
            <a:extLst>
              <a:ext uri="{FF2B5EF4-FFF2-40B4-BE49-F238E27FC236}">
                <a16:creationId xmlns:a16="http://schemas.microsoft.com/office/drawing/2014/main" id="{8A3E3742-BC75-B51E-9A18-BA705E401F9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3792" y="0"/>
            <a:ext cx="7968208" cy="6858000"/>
          </a:xfrm>
          <a:custGeom>
            <a:avLst/>
            <a:gdLst>
              <a:gd name="connsiteX0" fmla="*/ 1872208 w 7968208"/>
              <a:gd name="connsiteY0" fmla="*/ 0 h 6858000"/>
              <a:gd name="connsiteX1" fmla="*/ 7968208 w 7968208"/>
              <a:gd name="connsiteY1" fmla="*/ 0 h 6858000"/>
              <a:gd name="connsiteX2" fmla="*/ 7968208 w 7968208"/>
              <a:gd name="connsiteY2" fmla="*/ 6858000 h 6858000"/>
              <a:gd name="connsiteX3" fmla="*/ 1872208 w 7968208"/>
              <a:gd name="connsiteY3" fmla="*/ 6858000 h 6858000"/>
              <a:gd name="connsiteX4" fmla="*/ 0 w 7968208"/>
              <a:gd name="connsiteY4" fmla="*/ 6858000 h 6858000"/>
              <a:gd name="connsiteX5" fmla="*/ 1872208 w 7968208"/>
              <a:gd name="connsiteY5" fmla="*/ 56612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8208" h="6858000">
                <a:moveTo>
                  <a:pt x="1872208" y="0"/>
                </a:moveTo>
                <a:lnTo>
                  <a:pt x="7968208" y="0"/>
                </a:lnTo>
                <a:lnTo>
                  <a:pt x="7968208" y="6858000"/>
                </a:lnTo>
                <a:lnTo>
                  <a:pt x="1872208" y="6858000"/>
                </a:lnTo>
                <a:lnTo>
                  <a:pt x="0" y="6858000"/>
                </a:lnTo>
                <a:lnTo>
                  <a:pt x="1872208" y="5661248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1224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FF4414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1196752"/>
            <a:ext cx="5472608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850763"/>
            <a:ext cx="5472608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9C4B5F6D-5216-9702-2DE4-D459EB5F0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96200" y="6637844"/>
            <a:ext cx="4248472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150184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a | Gold">
    <p:bg>
      <p:bgPr>
        <a:solidFill>
          <a:srgbClr val="FF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" y="5390657"/>
            <a:ext cx="1925300" cy="1467340"/>
          </a:xfrm>
          <a:prstGeom prst="rect">
            <a:avLst/>
          </a:prstGeom>
        </p:spPr>
      </p:pic>
      <p:sp>
        <p:nvSpPr>
          <p:cNvPr id="4" name="Bild-Platzhalter">
            <a:extLst>
              <a:ext uri="{FF2B5EF4-FFF2-40B4-BE49-F238E27FC236}">
                <a16:creationId xmlns:a16="http://schemas.microsoft.com/office/drawing/2014/main" id="{8A3E3742-BC75-B51E-9A18-BA705E401F9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3792" y="0"/>
            <a:ext cx="7968208" cy="6858000"/>
          </a:xfrm>
          <a:custGeom>
            <a:avLst/>
            <a:gdLst>
              <a:gd name="connsiteX0" fmla="*/ 1872208 w 7968208"/>
              <a:gd name="connsiteY0" fmla="*/ 0 h 6858000"/>
              <a:gd name="connsiteX1" fmla="*/ 7968208 w 7968208"/>
              <a:gd name="connsiteY1" fmla="*/ 0 h 6858000"/>
              <a:gd name="connsiteX2" fmla="*/ 7968208 w 7968208"/>
              <a:gd name="connsiteY2" fmla="*/ 6858000 h 6858000"/>
              <a:gd name="connsiteX3" fmla="*/ 1872208 w 7968208"/>
              <a:gd name="connsiteY3" fmla="*/ 6858000 h 6858000"/>
              <a:gd name="connsiteX4" fmla="*/ 0 w 7968208"/>
              <a:gd name="connsiteY4" fmla="*/ 6858000 h 6858000"/>
              <a:gd name="connsiteX5" fmla="*/ 1872208 w 7968208"/>
              <a:gd name="connsiteY5" fmla="*/ 56612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8208" h="6858000">
                <a:moveTo>
                  <a:pt x="1872208" y="0"/>
                </a:moveTo>
                <a:lnTo>
                  <a:pt x="7968208" y="0"/>
                </a:lnTo>
                <a:lnTo>
                  <a:pt x="7968208" y="6858000"/>
                </a:lnTo>
                <a:lnTo>
                  <a:pt x="1872208" y="6858000"/>
                </a:lnTo>
                <a:lnTo>
                  <a:pt x="0" y="6858000"/>
                </a:lnTo>
                <a:lnTo>
                  <a:pt x="1872208" y="5661248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1224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8C3E9F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1196752"/>
            <a:ext cx="5472608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850763"/>
            <a:ext cx="5472608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8C3E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9C4B5F6D-5216-9702-2DE4-D459EB5F0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96200" y="6637844"/>
            <a:ext cx="4248472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351274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a | Grün">
    <p:bg>
      <p:bgPr>
        <a:solidFill>
          <a:srgbClr val="10A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890693D4-A196-5978-FDC2-3C00CE250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" y="5390657"/>
            <a:ext cx="1925300" cy="1467341"/>
          </a:xfrm>
          <a:prstGeom prst="rect">
            <a:avLst/>
          </a:prstGeom>
        </p:spPr>
      </p:pic>
      <p:sp>
        <p:nvSpPr>
          <p:cNvPr id="4" name="Bild-Platzhalter">
            <a:extLst>
              <a:ext uri="{FF2B5EF4-FFF2-40B4-BE49-F238E27FC236}">
                <a16:creationId xmlns:a16="http://schemas.microsoft.com/office/drawing/2014/main" id="{8A3E3742-BC75-B51E-9A18-BA705E401F9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23792" y="0"/>
            <a:ext cx="7968208" cy="6858000"/>
          </a:xfrm>
          <a:custGeom>
            <a:avLst/>
            <a:gdLst>
              <a:gd name="connsiteX0" fmla="*/ 1872208 w 7968208"/>
              <a:gd name="connsiteY0" fmla="*/ 0 h 6858000"/>
              <a:gd name="connsiteX1" fmla="*/ 7968208 w 7968208"/>
              <a:gd name="connsiteY1" fmla="*/ 0 h 6858000"/>
              <a:gd name="connsiteX2" fmla="*/ 7968208 w 7968208"/>
              <a:gd name="connsiteY2" fmla="*/ 6858000 h 6858000"/>
              <a:gd name="connsiteX3" fmla="*/ 1872208 w 7968208"/>
              <a:gd name="connsiteY3" fmla="*/ 6858000 h 6858000"/>
              <a:gd name="connsiteX4" fmla="*/ 0 w 7968208"/>
              <a:gd name="connsiteY4" fmla="*/ 6858000 h 6858000"/>
              <a:gd name="connsiteX5" fmla="*/ 1872208 w 7968208"/>
              <a:gd name="connsiteY5" fmla="*/ 56612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68208" h="6858000">
                <a:moveTo>
                  <a:pt x="1872208" y="0"/>
                </a:moveTo>
                <a:lnTo>
                  <a:pt x="7968208" y="0"/>
                </a:lnTo>
                <a:lnTo>
                  <a:pt x="7968208" y="6858000"/>
                </a:lnTo>
                <a:lnTo>
                  <a:pt x="1872208" y="6858000"/>
                </a:lnTo>
                <a:lnTo>
                  <a:pt x="0" y="6858000"/>
                </a:lnTo>
                <a:lnTo>
                  <a:pt x="1872208" y="5661248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1224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AD00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1196752"/>
            <a:ext cx="5472608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850763"/>
            <a:ext cx="5472608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1006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" name="Bild-Nachweis">
            <a:extLst>
              <a:ext uri="{FF2B5EF4-FFF2-40B4-BE49-F238E27FC236}">
                <a16:creationId xmlns:a16="http://schemas.microsoft.com/office/drawing/2014/main" id="{9C4B5F6D-5216-9702-2DE4-D459EB5F0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96200" y="6637844"/>
            <a:ext cx="4248472" cy="216000"/>
          </a:xfrm>
        </p:spPr>
        <p:txBody>
          <a:bodyPr lIns="0" tIns="0" rIns="0" bIns="0" anchor="t" anchorCtr="0"/>
          <a:lstStyle>
            <a:lvl1pPr marL="0" indent="0" algn="r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1288472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6b | Dunkelblau">
    <p:bg>
      <p:bgPr>
        <a:solidFill>
          <a:srgbClr val="100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-platzhalte">
            <a:extLst>
              <a:ext uri="{FF2B5EF4-FFF2-40B4-BE49-F238E27FC236}">
                <a16:creationId xmlns:a16="http://schemas.microsoft.com/office/drawing/2014/main" id="{D18B794D-902B-AA65-381D-28ABB5C845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0"/>
            <a:ext cx="6374506" cy="6858000"/>
          </a:xfrm>
          <a:custGeom>
            <a:avLst/>
            <a:gdLst>
              <a:gd name="connsiteX0" fmla="*/ 0 w 6374506"/>
              <a:gd name="connsiteY0" fmla="*/ 0 h 6858000"/>
              <a:gd name="connsiteX1" fmla="*/ 4151783 w 6374506"/>
              <a:gd name="connsiteY1" fmla="*/ 0 h 6858000"/>
              <a:gd name="connsiteX2" fmla="*/ 4151783 w 6374506"/>
              <a:gd name="connsiteY2" fmla="*/ 5379552 h 6858000"/>
              <a:gd name="connsiteX3" fmla="*/ 6374506 w 6374506"/>
              <a:gd name="connsiteY3" fmla="*/ 6858000 h 6858000"/>
              <a:gd name="connsiteX4" fmla="*/ 4151783 w 6374506"/>
              <a:gd name="connsiteY4" fmla="*/ 6858000 h 6858000"/>
              <a:gd name="connsiteX5" fmla="*/ 4142258 w 6374506"/>
              <a:gd name="connsiteY5" fmla="*/ 6858000 h 6858000"/>
              <a:gd name="connsiteX6" fmla="*/ 0 w 637450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4506" h="6858000">
                <a:moveTo>
                  <a:pt x="0" y="0"/>
                </a:moveTo>
                <a:lnTo>
                  <a:pt x="4151783" y="0"/>
                </a:lnTo>
                <a:lnTo>
                  <a:pt x="4151783" y="5379552"/>
                </a:lnTo>
                <a:lnTo>
                  <a:pt x="6374506" y="6858000"/>
                </a:lnTo>
                <a:lnTo>
                  <a:pt x="4151783" y="6858000"/>
                </a:lnTo>
                <a:lnTo>
                  <a:pt x="414225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0F3F7"/>
          </a:solidFill>
        </p:spPr>
        <p:txBody>
          <a:bodyPr vert="horz" wrap="square" lIns="0" rIns="3420000" anchor="ctr" anchorCtr="0">
            <a:noAutofit/>
          </a:bodyPr>
          <a:lstStyle>
            <a:lvl1pPr marL="0" indent="0" algn="r">
              <a:buFontTx/>
              <a:buNone/>
              <a:defRPr b="1">
                <a:solidFill>
                  <a:srgbClr val="10065A"/>
                </a:solidFill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BE055E1-B7C3-048D-84E0-D9A7E4B243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5793" y="5391146"/>
            <a:ext cx="1925303" cy="1467343"/>
          </a:xfrm>
          <a:prstGeom prst="rect">
            <a:avLst/>
          </a:prstGeom>
        </p:spPr>
      </p:pic>
      <p:sp>
        <p:nvSpPr>
          <p:cNvPr id="12" name="Titel">
            <a:extLst>
              <a:ext uri="{FF2B5EF4-FFF2-40B4-BE49-F238E27FC236}">
                <a16:creationId xmlns:a16="http://schemas.microsoft.com/office/drawing/2014/main" id="{7541A82D-9AF4-E99E-44DC-86F90A01F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817" y="1265979"/>
            <a:ext cx="7272807" cy="3675189"/>
          </a:xfrm>
        </p:spPr>
        <p:txBody>
          <a:bodyPr tIns="0" bIns="0" anchor="t" anchorCtr="0"/>
          <a:lstStyle>
            <a:lvl1pPr>
              <a:lnSpc>
                <a:spcPct val="11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 oder Zwischentitel</a:t>
            </a:r>
          </a:p>
        </p:txBody>
      </p:sp>
      <p:sp>
        <p:nvSpPr>
          <p:cNvPr id="7" name="Dachzeile">
            <a:extLst>
              <a:ext uri="{FF2B5EF4-FFF2-40B4-BE49-F238E27FC236}">
                <a16:creationId xmlns:a16="http://schemas.microsoft.com/office/drawing/2014/main" id="{F9F2D556-CA53-4AE2-FB46-C63C3C6718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39816" y="919990"/>
            <a:ext cx="7272807" cy="294135"/>
          </a:xfrm>
        </p:spPr>
        <p:txBody>
          <a:bodyPr>
            <a:no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SzPct val="150000"/>
              <a:buFontTx/>
              <a:buNone/>
              <a:defRPr sz="2000" b="1" cap="none" spc="150" baseline="0">
                <a:solidFill>
                  <a:srgbClr val="FF3EB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chzeile</a:t>
            </a:r>
          </a:p>
        </p:txBody>
      </p:sp>
      <p:sp>
        <p:nvSpPr>
          <p:cNvPr id="22" name="Bild-Nachweis">
            <a:extLst>
              <a:ext uri="{FF2B5EF4-FFF2-40B4-BE49-F238E27FC236}">
                <a16:creationId xmlns:a16="http://schemas.microsoft.com/office/drawing/2014/main" id="{EC184E46-47D4-4C9C-B889-8D92474B36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6642000"/>
            <a:ext cx="4068000" cy="216000"/>
          </a:xfrm>
        </p:spPr>
        <p:txBody>
          <a:bodyPr lIns="0" tIns="0" rIns="0" bIns="0" anchor="t" anchorCtr="0"/>
          <a:lstStyle>
            <a:lvl1pPr marL="0" indent="0" algn="l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  <a:lvl2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buFontTx/>
              <a:buNone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marL="0" lvl="0" indent="0">
              <a:spcAft>
                <a:spcPts val="0"/>
              </a:spcAft>
            </a:pPr>
            <a:r>
              <a:rPr lang="de-DE" dirty="0"/>
              <a:t> © Bildnachweis hier eingeben</a:t>
            </a:r>
          </a:p>
        </p:txBody>
      </p:sp>
    </p:spTree>
    <p:extLst>
      <p:ext uri="{BB962C8B-B14F-4D97-AF65-F5344CB8AC3E}">
        <p14:creationId xmlns:p14="http://schemas.microsoft.com/office/powerpoint/2010/main" val="592755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99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324" Type="http://schemas.openxmlformats.org/officeDocument/2006/relationships/slideLayout" Target="../slideLayouts/slideLayout324.xml"/><Relationship Id="rId366" Type="http://schemas.openxmlformats.org/officeDocument/2006/relationships/slideLayout" Target="../slideLayouts/slideLayout366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26" Type="http://schemas.openxmlformats.org/officeDocument/2006/relationships/slideLayout" Target="../slideLayouts/slideLayout226.xml"/><Relationship Id="rId247" Type="http://schemas.openxmlformats.org/officeDocument/2006/relationships/slideLayout" Target="../slideLayouts/slideLayout247.xml"/><Relationship Id="rId107" Type="http://schemas.openxmlformats.org/officeDocument/2006/relationships/slideLayout" Target="../slideLayouts/slideLayout107.xml"/><Relationship Id="rId268" Type="http://schemas.openxmlformats.org/officeDocument/2006/relationships/slideLayout" Target="../slideLayouts/slideLayout268.xml"/><Relationship Id="rId289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335" Type="http://schemas.openxmlformats.org/officeDocument/2006/relationships/slideLayout" Target="../slideLayouts/slideLayout335.xml"/><Relationship Id="rId356" Type="http://schemas.openxmlformats.org/officeDocument/2006/relationships/slideLayout" Target="../slideLayouts/slideLayout356.xml"/><Relationship Id="rId377" Type="http://schemas.openxmlformats.org/officeDocument/2006/relationships/slideLayout" Target="../slideLayouts/slideLayout377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37" Type="http://schemas.openxmlformats.org/officeDocument/2006/relationships/slideLayout" Target="../slideLayouts/slideLayout237.xml"/><Relationship Id="rId258" Type="http://schemas.openxmlformats.org/officeDocument/2006/relationships/slideLayout" Target="../slideLayouts/slideLayout258.xml"/><Relationship Id="rId279" Type="http://schemas.openxmlformats.org/officeDocument/2006/relationships/slideLayout" Target="../slideLayouts/slideLayout279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325" Type="http://schemas.openxmlformats.org/officeDocument/2006/relationships/slideLayout" Target="../slideLayouts/slideLayout325.xml"/><Relationship Id="rId346" Type="http://schemas.openxmlformats.org/officeDocument/2006/relationships/slideLayout" Target="../slideLayouts/slideLayout346.xml"/><Relationship Id="rId367" Type="http://schemas.openxmlformats.org/officeDocument/2006/relationships/slideLayout" Target="../slideLayouts/slideLayout367.xml"/><Relationship Id="rId388" Type="http://schemas.openxmlformats.org/officeDocument/2006/relationships/theme" Target="../theme/theme1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227" Type="http://schemas.openxmlformats.org/officeDocument/2006/relationships/slideLayout" Target="../slideLayouts/slideLayout227.xml"/><Relationship Id="rId248" Type="http://schemas.openxmlformats.org/officeDocument/2006/relationships/slideLayout" Target="../slideLayouts/slideLayout248.xml"/><Relationship Id="rId269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15" Type="http://schemas.openxmlformats.org/officeDocument/2006/relationships/slideLayout" Target="../slideLayouts/slideLayout315.xml"/><Relationship Id="rId336" Type="http://schemas.openxmlformats.org/officeDocument/2006/relationships/slideLayout" Target="../slideLayouts/slideLayout336.xml"/><Relationship Id="rId357" Type="http://schemas.openxmlformats.org/officeDocument/2006/relationships/slideLayout" Target="../slideLayouts/slideLayout357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slideLayout" Target="../slideLayouts/slideLayout217.xml"/><Relationship Id="rId378" Type="http://schemas.openxmlformats.org/officeDocument/2006/relationships/slideLayout" Target="../slideLayouts/slideLayout378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259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326" Type="http://schemas.openxmlformats.org/officeDocument/2006/relationships/slideLayout" Target="../slideLayouts/slideLayout326.xml"/><Relationship Id="rId347" Type="http://schemas.openxmlformats.org/officeDocument/2006/relationships/slideLayout" Target="../slideLayouts/slideLayout347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368" Type="http://schemas.openxmlformats.org/officeDocument/2006/relationships/slideLayout" Target="../slideLayouts/slideLayout368.xml"/><Relationship Id="rId389" Type="http://schemas.openxmlformats.org/officeDocument/2006/relationships/tags" Target="../tags/tag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28" Type="http://schemas.openxmlformats.org/officeDocument/2006/relationships/slideLayout" Target="../slideLayouts/slideLayout228.xml"/><Relationship Id="rId249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281" Type="http://schemas.openxmlformats.org/officeDocument/2006/relationships/slideLayout" Target="../slideLayouts/slideLayout281.xml"/><Relationship Id="rId316" Type="http://schemas.openxmlformats.org/officeDocument/2006/relationships/slideLayout" Target="../slideLayouts/slideLayout316.xml"/><Relationship Id="rId337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358" Type="http://schemas.openxmlformats.org/officeDocument/2006/relationships/slideLayout" Target="../slideLayouts/slideLayout358.xml"/><Relationship Id="rId379" Type="http://schemas.openxmlformats.org/officeDocument/2006/relationships/slideLayout" Target="../slideLayouts/slideLayout379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18" Type="http://schemas.openxmlformats.org/officeDocument/2006/relationships/slideLayout" Target="../slideLayouts/slideLayout218.xml"/><Relationship Id="rId239" Type="http://schemas.openxmlformats.org/officeDocument/2006/relationships/slideLayout" Target="../slideLayouts/slideLayout239.xml"/><Relationship Id="rId390" Type="http://schemas.openxmlformats.org/officeDocument/2006/relationships/oleObject" Target="../embeddings/oleObject1.bin"/><Relationship Id="rId250" Type="http://schemas.openxmlformats.org/officeDocument/2006/relationships/slideLayout" Target="../slideLayouts/slideLayout250.xml"/><Relationship Id="rId271" Type="http://schemas.openxmlformats.org/officeDocument/2006/relationships/slideLayout" Target="../slideLayouts/slideLayout271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348" Type="http://schemas.openxmlformats.org/officeDocument/2006/relationships/slideLayout" Target="../slideLayouts/slideLayout348.xml"/><Relationship Id="rId369" Type="http://schemas.openxmlformats.org/officeDocument/2006/relationships/slideLayout" Target="../slideLayouts/slideLayout369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229" Type="http://schemas.openxmlformats.org/officeDocument/2006/relationships/slideLayout" Target="../slideLayouts/slideLayout229.xml"/><Relationship Id="rId380" Type="http://schemas.openxmlformats.org/officeDocument/2006/relationships/slideLayout" Target="../slideLayouts/slideLayout380.xml"/><Relationship Id="rId240" Type="http://schemas.openxmlformats.org/officeDocument/2006/relationships/slideLayout" Target="../slideLayouts/slideLayout240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17" Type="http://schemas.openxmlformats.org/officeDocument/2006/relationships/slideLayout" Target="../slideLayouts/slideLayout317.xml"/><Relationship Id="rId338" Type="http://schemas.openxmlformats.org/officeDocument/2006/relationships/slideLayout" Target="../slideLayouts/slideLayout338.xml"/><Relationship Id="rId359" Type="http://schemas.openxmlformats.org/officeDocument/2006/relationships/slideLayout" Target="../slideLayouts/slideLayout359.xml"/><Relationship Id="rId8" Type="http://schemas.openxmlformats.org/officeDocument/2006/relationships/slideLayout" Target="../slideLayouts/slideLayout8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219" Type="http://schemas.openxmlformats.org/officeDocument/2006/relationships/slideLayout" Target="../slideLayouts/slideLayout219.xml"/><Relationship Id="rId370" Type="http://schemas.openxmlformats.org/officeDocument/2006/relationships/slideLayout" Target="../slideLayouts/slideLayout370.xml"/><Relationship Id="rId391" Type="http://schemas.openxmlformats.org/officeDocument/2006/relationships/image" Target="../media/image1.emf"/><Relationship Id="rId230" Type="http://schemas.openxmlformats.org/officeDocument/2006/relationships/slideLayout" Target="../slideLayouts/slideLayout230.xml"/><Relationship Id="rId251" Type="http://schemas.openxmlformats.org/officeDocument/2006/relationships/slideLayout" Target="../slideLayouts/slideLayout251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293" Type="http://schemas.openxmlformats.org/officeDocument/2006/relationships/slideLayout" Target="../slideLayouts/slideLayout293.xml"/><Relationship Id="rId307" Type="http://schemas.openxmlformats.org/officeDocument/2006/relationships/slideLayout" Target="../slideLayouts/slideLayout307.xml"/><Relationship Id="rId328" Type="http://schemas.openxmlformats.org/officeDocument/2006/relationships/slideLayout" Target="../slideLayouts/slideLayout328.xml"/><Relationship Id="rId349" Type="http://schemas.openxmlformats.org/officeDocument/2006/relationships/slideLayout" Target="../slideLayouts/slideLayout349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360" Type="http://schemas.openxmlformats.org/officeDocument/2006/relationships/slideLayout" Target="../slideLayouts/slideLayout360.xml"/><Relationship Id="rId381" Type="http://schemas.openxmlformats.org/officeDocument/2006/relationships/slideLayout" Target="../slideLayouts/slideLayout381.xml"/><Relationship Id="rId220" Type="http://schemas.openxmlformats.org/officeDocument/2006/relationships/slideLayout" Target="../slideLayouts/slideLayout220.xml"/><Relationship Id="rId241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283" Type="http://schemas.openxmlformats.org/officeDocument/2006/relationships/slideLayout" Target="../slideLayouts/slideLayout283.xml"/><Relationship Id="rId318" Type="http://schemas.openxmlformats.org/officeDocument/2006/relationships/slideLayout" Target="../slideLayouts/slideLayout318.xml"/><Relationship Id="rId339" Type="http://schemas.openxmlformats.org/officeDocument/2006/relationships/slideLayout" Target="../slideLayouts/slideLayout339.xml"/><Relationship Id="rId78" Type="http://schemas.openxmlformats.org/officeDocument/2006/relationships/slideLayout" Target="../slideLayouts/slideLayout78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64" Type="http://schemas.openxmlformats.org/officeDocument/2006/relationships/slideLayout" Target="../slideLayouts/slideLayout164.xml"/><Relationship Id="rId185" Type="http://schemas.openxmlformats.org/officeDocument/2006/relationships/slideLayout" Target="../slideLayouts/slideLayout185.xml"/><Relationship Id="rId350" Type="http://schemas.openxmlformats.org/officeDocument/2006/relationships/slideLayout" Target="../slideLayouts/slideLayout350.xml"/><Relationship Id="rId371" Type="http://schemas.openxmlformats.org/officeDocument/2006/relationships/slideLayout" Target="../slideLayouts/slideLayout371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392" Type="http://schemas.openxmlformats.org/officeDocument/2006/relationships/image" Target="../media/image2.png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52" Type="http://schemas.openxmlformats.org/officeDocument/2006/relationships/slideLayout" Target="../slideLayouts/slideLayout252.xml"/><Relationship Id="rId273" Type="http://schemas.openxmlformats.org/officeDocument/2006/relationships/slideLayout" Target="../slideLayouts/slideLayout273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329" Type="http://schemas.openxmlformats.org/officeDocument/2006/relationships/slideLayout" Target="../slideLayouts/slideLayout329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361" Type="http://schemas.openxmlformats.org/officeDocument/2006/relationships/slideLayout" Target="../slideLayouts/slideLayout361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382" Type="http://schemas.openxmlformats.org/officeDocument/2006/relationships/slideLayout" Target="../slideLayouts/slideLayout382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42" Type="http://schemas.openxmlformats.org/officeDocument/2006/relationships/slideLayout" Target="../slideLayouts/slideLayout242.xml"/><Relationship Id="rId263" Type="http://schemas.openxmlformats.org/officeDocument/2006/relationships/slideLayout" Target="../slideLayouts/slideLayout263.xml"/><Relationship Id="rId284" Type="http://schemas.openxmlformats.org/officeDocument/2006/relationships/slideLayout" Target="../slideLayouts/slideLayout284.xml"/><Relationship Id="rId319" Type="http://schemas.openxmlformats.org/officeDocument/2006/relationships/slideLayout" Target="../slideLayouts/slideLayout319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330" Type="http://schemas.openxmlformats.org/officeDocument/2006/relationships/slideLayout" Target="../slideLayouts/slideLayout330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351" Type="http://schemas.openxmlformats.org/officeDocument/2006/relationships/slideLayout" Target="../slideLayouts/slideLayout351.xml"/><Relationship Id="rId372" Type="http://schemas.openxmlformats.org/officeDocument/2006/relationships/slideLayout" Target="../slideLayouts/slideLayout372.xml"/><Relationship Id="rId211" Type="http://schemas.openxmlformats.org/officeDocument/2006/relationships/slideLayout" Target="../slideLayouts/slideLayout211.xml"/><Relationship Id="rId232" Type="http://schemas.openxmlformats.org/officeDocument/2006/relationships/slideLayout" Target="../slideLayouts/slideLayout232.xml"/><Relationship Id="rId253" Type="http://schemas.openxmlformats.org/officeDocument/2006/relationships/slideLayout" Target="../slideLayouts/slideLayout253.xml"/><Relationship Id="rId274" Type="http://schemas.openxmlformats.org/officeDocument/2006/relationships/slideLayout" Target="../slideLayouts/slideLayout274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320" Type="http://schemas.openxmlformats.org/officeDocument/2006/relationships/slideLayout" Target="../slideLayouts/slideLayout320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341" Type="http://schemas.openxmlformats.org/officeDocument/2006/relationships/slideLayout" Target="../slideLayouts/slideLayout341.xml"/><Relationship Id="rId362" Type="http://schemas.openxmlformats.org/officeDocument/2006/relationships/slideLayout" Target="../slideLayouts/slideLayout362.xml"/><Relationship Id="rId383" Type="http://schemas.openxmlformats.org/officeDocument/2006/relationships/slideLayout" Target="../slideLayouts/slideLayout383.xml"/><Relationship Id="rId201" Type="http://schemas.openxmlformats.org/officeDocument/2006/relationships/slideLayout" Target="../slideLayouts/slideLayout201.xml"/><Relationship Id="rId222" Type="http://schemas.openxmlformats.org/officeDocument/2006/relationships/slideLayout" Target="../slideLayouts/slideLayout222.xml"/><Relationship Id="rId243" Type="http://schemas.openxmlformats.org/officeDocument/2006/relationships/slideLayout" Target="../slideLayouts/slideLayout243.xml"/><Relationship Id="rId264" Type="http://schemas.openxmlformats.org/officeDocument/2006/relationships/slideLayout" Target="../slideLayouts/slideLayout264.xml"/><Relationship Id="rId285" Type="http://schemas.openxmlformats.org/officeDocument/2006/relationships/slideLayout" Target="../slideLayouts/slideLayout285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310" Type="http://schemas.openxmlformats.org/officeDocument/2006/relationships/slideLayout" Target="../slideLayouts/slideLayout310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331" Type="http://schemas.openxmlformats.org/officeDocument/2006/relationships/slideLayout" Target="../slideLayouts/slideLayout331.xml"/><Relationship Id="rId352" Type="http://schemas.openxmlformats.org/officeDocument/2006/relationships/slideLayout" Target="../slideLayouts/slideLayout352.xml"/><Relationship Id="rId373" Type="http://schemas.openxmlformats.org/officeDocument/2006/relationships/slideLayout" Target="../slideLayouts/slideLayout373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33" Type="http://schemas.openxmlformats.org/officeDocument/2006/relationships/slideLayout" Target="../slideLayouts/slideLayout233.xml"/><Relationship Id="rId254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75" Type="http://schemas.openxmlformats.org/officeDocument/2006/relationships/slideLayout" Target="../slideLayouts/slideLayout275.xml"/><Relationship Id="rId296" Type="http://schemas.openxmlformats.org/officeDocument/2006/relationships/slideLayout" Target="../slideLayouts/slideLayout296.xml"/><Relationship Id="rId300" Type="http://schemas.openxmlformats.org/officeDocument/2006/relationships/slideLayout" Target="../slideLayouts/slideLayout300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42" Type="http://schemas.openxmlformats.org/officeDocument/2006/relationships/slideLayout" Target="../slideLayouts/slideLayout342.xml"/><Relationship Id="rId363" Type="http://schemas.openxmlformats.org/officeDocument/2006/relationships/slideLayout" Target="../slideLayouts/slideLayout363.xml"/><Relationship Id="rId384" Type="http://schemas.openxmlformats.org/officeDocument/2006/relationships/slideLayout" Target="../slideLayouts/slideLayout384.xml"/><Relationship Id="rId202" Type="http://schemas.openxmlformats.org/officeDocument/2006/relationships/slideLayout" Target="../slideLayouts/slideLayout202.xml"/><Relationship Id="rId223" Type="http://schemas.openxmlformats.org/officeDocument/2006/relationships/slideLayout" Target="../slideLayouts/slideLayout223.xml"/><Relationship Id="rId244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265" Type="http://schemas.openxmlformats.org/officeDocument/2006/relationships/slideLayout" Target="../slideLayouts/slideLayout265.xml"/><Relationship Id="rId286" Type="http://schemas.openxmlformats.org/officeDocument/2006/relationships/slideLayout" Target="../slideLayouts/slideLayout286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32" Type="http://schemas.openxmlformats.org/officeDocument/2006/relationships/slideLayout" Target="../slideLayouts/slideLayout332.xml"/><Relationship Id="rId353" Type="http://schemas.openxmlformats.org/officeDocument/2006/relationships/slideLayout" Target="../slideLayouts/slideLayout353.xml"/><Relationship Id="rId374" Type="http://schemas.openxmlformats.org/officeDocument/2006/relationships/slideLayout" Target="../slideLayouts/slideLayout374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34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55" Type="http://schemas.openxmlformats.org/officeDocument/2006/relationships/slideLayout" Target="../slideLayouts/slideLayout255.xml"/><Relationship Id="rId276" Type="http://schemas.openxmlformats.org/officeDocument/2006/relationships/slideLayout" Target="../slideLayouts/slideLayout276.xml"/><Relationship Id="rId297" Type="http://schemas.openxmlformats.org/officeDocument/2006/relationships/slideLayout" Target="../slideLayouts/slideLayout297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22" Type="http://schemas.openxmlformats.org/officeDocument/2006/relationships/slideLayout" Target="../slideLayouts/slideLayout322.xml"/><Relationship Id="rId343" Type="http://schemas.openxmlformats.org/officeDocument/2006/relationships/slideLayout" Target="../slideLayouts/slideLayout343.xml"/><Relationship Id="rId364" Type="http://schemas.openxmlformats.org/officeDocument/2006/relationships/slideLayout" Target="../slideLayouts/slideLayout364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385" Type="http://schemas.openxmlformats.org/officeDocument/2006/relationships/slideLayout" Target="../slideLayouts/slideLayout385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287" Type="http://schemas.openxmlformats.org/officeDocument/2006/relationships/slideLayout" Target="../slideLayouts/slideLayout287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312" Type="http://schemas.openxmlformats.org/officeDocument/2006/relationships/slideLayout" Target="../slideLayouts/slideLayout312.xml"/><Relationship Id="rId333" Type="http://schemas.openxmlformats.org/officeDocument/2006/relationships/slideLayout" Target="../slideLayouts/slideLayout333.xml"/><Relationship Id="rId354" Type="http://schemas.openxmlformats.org/officeDocument/2006/relationships/slideLayout" Target="../slideLayouts/slideLayout354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75" Type="http://schemas.openxmlformats.org/officeDocument/2006/relationships/slideLayout" Target="../slideLayouts/slideLayout375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277" Type="http://schemas.openxmlformats.org/officeDocument/2006/relationships/slideLayout" Target="../slideLayouts/slideLayout277.xml"/><Relationship Id="rId298" Type="http://schemas.openxmlformats.org/officeDocument/2006/relationships/slideLayout" Target="../slideLayouts/slideLayout298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302" Type="http://schemas.openxmlformats.org/officeDocument/2006/relationships/slideLayout" Target="../slideLayouts/slideLayout302.xml"/><Relationship Id="rId323" Type="http://schemas.openxmlformats.org/officeDocument/2006/relationships/slideLayout" Target="../slideLayouts/slideLayout323.xml"/><Relationship Id="rId344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365" Type="http://schemas.openxmlformats.org/officeDocument/2006/relationships/slideLayout" Target="../slideLayouts/slideLayout365.xml"/><Relationship Id="rId386" Type="http://schemas.openxmlformats.org/officeDocument/2006/relationships/slideLayout" Target="../slideLayouts/slideLayout386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288" Type="http://schemas.openxmlformats.org/officeDocument/2006/relationships/slideLayout" Target="../slideLayouts/slideLayout288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313" Type="http://schemas.openxmlformats.org/officeDocument/2006/relationships/slideLayout" Target="../slideLayouts/slideLayout313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334" Type="http://schemas.openxmlformats.org/officeDocument/2006/relationships/slideLayout" Target="../slideLayouts/slideLayout334.xml"/><Relationship Id="rId355" Type="http://schemas.openxmlformats.org/officeDocument/2006/relationships/slideLayout" Target="../slideLayouts/slideLayout355.xml"/><Relationship Id="rId376" Type="http://schemas.openxmlformats.org/officeDocument/2006/relationships/slideLayout" Target="../slideLayouts/slideLayout376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278" Type="http://schemas.openxmlformats.org/officeDocument/2006/relationships/slideLayout" Target="../slideLayouts/slideLayout278.xml"/><Relationship Id="rId303" Type="http://schemas.openxmlformats.org/officeDocument/2006/relationships/slideLayout" Target="../slideLayouts/slideLayout303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345" Type="http://schemas.openxmlformats.org/officeDocument/2006/relationships/slideLayout" Target="../slideLayouts/slideLayout345.xml"/><Relationship Id="rId387" Type="http://schemas.openxmlformats.org/officeDocument/2006/relationships/slideLayout" Target="../slideLayouts/slideLayout3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45D2A16-4ED2-5FCC-B413-AED3CBC859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9"/>
            </p:custDataLst>
            <p:extLst>
              <p:ext uri="{D42A27DB-BD31-4B8C-83A1-F6EECF244321}">
                <p14:modId xmlns:p14="http://schemas.microsoft.com/office/powerpoint/2010/main" val="247195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90" imgW="345" imgH="343" progId="TCLayout.ActiveDocument.1">
                  <p:embed/>
                </p:oleObj>
              </mc:Choice>
              <mc:Fallback>
                <p:oleObj name="think-cell Folie" r:id="rId390" imgW="345" imgH="34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5D2A16-4ED2-5FCC-B413-AED3CBC85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Logo">
            <a:extLst>
              <a:ext uri="{FF2B5EF4-FFF2-40B4-BE49-F238E27FC236}">
                <a16:creationId xmlns:a16="http://schemas.microsoft.com/office/drawing/2014/main" id="{B6229E85-D44A-F17D-0438-79252CC07BBB}"/>
              </a:ext>
            </a:extLst>
          </p:cNvPr>
          <p:cNvPicPr>
            <a:picLocks noChangeAspect="1"/>
          </p:cNvPicPr>
          <p:nvPr userDrawn="1"/>
        </p:nvPicPr>
        <p:blipFill>
          <a:blip r:embed="rId3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91321" y="5814333"/>
            <a:ext cx="1369834" cy="1043334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8E176C43-5B30-EA06-C375-F517743461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26000" y="6290675"/>
            <a:ext cx="540000" cy="252000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algn="ctr">
              <a:defRPr lang="de-DE" sz="1100" b="1" smtClean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0EDB35FF-48FE-4539-886A-6B3E6CAB12D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Datum">
            <a:extLst>
              <a:ext uri="{FF2B5EF4-FFF2-40B4-BE49-F238E27FC236}">
                <a16:creationId xmlns:a16="http://schemas.microsoft.com/office/drawing/2014/main" id="{5E46C341-41CE-C4D4-DE6F-044546EAB1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000" y="6290675"/>
            <a:ext cx="1800000" cy="252000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algn="l">
              <a:defRPr lang="de-DE" sz="1100" smtClean="0">
                <a:solidFill>
                  <a:srgbClr val="10065A"/>
                </a:solidFill>
                <a:latin typeface="Source Sans Pro" panose="020B0503030403020204" pitchFamily="34" charset="0"/>
              </a:defRPr>
            </a:lvl1pPr>
          </a:lstStyle>
          <a:p>
            <a:fld id="{A8EBA350-329A-4467-A362-FC4978F9A325}" type="datetime4">
              <a:rPr lang="de-DE" smtClean="0"/>
              <a:t>3. Dezember 2025</a:t>
            </a:fld>
            <a:endParaRPr lang="de-DE" dirty="0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BF95CF52-85E7-61B8-06DF-6A87115411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206000"/>
            <a:ext cx="11160000" cy="4752000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de-DE" dirty="0"/>
              <a:t>Text – erste Ebene</a:t>
            </a:r>
          </a:p>
          <a:p>
            <a:pPr lvl="1"/>
            <a:r>
              <a:rPr lang="de-DE" dirty="0"/>
              <a:t>Text – zweite Ebene</a:t>
            </a:r>
          </a:p>
          <a:p>
            <a:pPr lvl="2"/>
            <a:r>
              <a:rPr lang="de-DE" dirty="0"/>
              <a:t>Text – dritte Ebene</a:t>
            </a:r>
          </a:p>
          <a:p>
            <a:pPr lvl="3"/>
            <a:r>
              <a:rPr lang="de-DE" dirty="0"/>
              <a:t>Text – vierte Ebene</a:t>
            </a:r>
          </a:p>
          <a:p>
            <a:pPr lvl="4"/>
            <a:r>
              <a:rPr lang="de-DE" dirty="0"/>
              <a:t>Text – 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625BCA2-ADA8-5693-3BC1-A1C032A2E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139663"/>
            <a:ext cx="11160000" cy="900000"/>
          </a:xfrm>
          <a:prstGeom prst="rect">
            <a:avLst/>
          </a:prstGeom>
        </p:spPr>
        <p:txBody>
          <a:bodyPr vert="horz" lIns="0" tIns="36000" rIns="0" bIns="36000" rtlCol="0" anchor="ctr" anchorCtr="0">
            <a:noAutofit/>
          </a:bodyPr>
          <a:lstStyle/>
          <a:p>
            <a:r>
              <a:rPr lang="de-DE" dirty="0"/>
              <a:t>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288315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3916" r:id="rId2"/>
    <p:sldLayoutId id="2147484074" r:id="rId3"/>
    <p:sldLayoutId id="2147483910" r:id="rId4"/>
    <p:sldLayoutId id="2147484075" r:id="rId5"/>
    <p:sldLayoutId id="2147484039" r:id="rId6"/>
    <p:sldLayoutId id="2147484076" r:id="rId7"/>
    <p:sldLayoutId id="2147483917" r:id="rId8"/>
    <p:sldLayoutId id="2147484077" r:id="rId9"/>
    <p:sldLayoutId id="2147483918" r:id="rId10"/>
    <p:sldLayoutId id="2147484078" r:id="rId11"/>
    <p:sldLayoutId id="2147483919" r:id="rId12"/>
    <p:sldLayoutId id="2147484079" r:id="rId13"/>
    <p:sldLayoutId id="2147483927" r:id="rId14"/>
    <p:sldLayoutId id="2147484096" r:id="rId15"/>
    <p:sldLayoutId id="2147483926" r:id="rId16"/>
    <p:sldLayoutId id="2147484097" r:id="rId17"/>
    <p:sldLayoutId id="2147484040" r:id="rId18"/>
    <p:sldLayoutId id="2147484098" r:id="rId19"/>
    <p:sldLayoutId id="2147483925" r:id="rId20"/>
    <p:sldLayoutId id="2147484099" r:id="rId21"/>
    <p:sldLayoutId id="2147483924" r:id="rId22"/>
    <p:sldLayoutId id="2147484100" r:id="rId23"/>
    <p:sldLayoutId id="2147483912" r:id="rId24"/>
    <p:sldLayoutId id="2147484101" r:id="rId25"/>
    <p:sldLayoutId id="2147483789" r:id="rId26"/>
    <p:sldLayoutId id="2147484102" r:id="rId27"/>
    <p:sldLayoutId id="2147483666" r:id="rId28"/>
    <p:sldLayoutId id="2147484103" r:id="rId29"/>
    <p:sldLayoutId id="2147483784" r:id="rId30"/>
    <p:sldLayoutId id="2147484104" r:id="rId31"/>
    <p:sldLayoutId id="2147483786" r:id="rId32"/>
    <p:sldLayoutId id="2147484105" r:id="rId33"/>
    <p:sldLayoutId id="2147483785" r:id="rId34"/>
    <p:sldLayoutId id="2147484106" r:id="rId35"/>
    <p:sldLayoutId id="2147483788" r:id="rId36"/>
    <p:sldLayoutId id="2147484107" r:id="rId37"/>
    <p:sldLayoutId id="2147483824" r:id="rId38"/>
    <p:sldLayoutId id="2147483823" r:id="rId39"/>
    <p:sldLayoutId id="2147483675" r:id="rId40"/>
    <p:sldLayoutId id="2147483794" r:id="rId41"/>
    <p:sldLayoutId id="2147484108" r:id="rId42"/>
    <p:sldLayoutId id="2147483897" r:id="rId43"/>
    <p:sldLayoutId id="2147484041" r:id="rId44"/>
    <p:sldLayoutId id="2147484109" r:id="rId45"/>
    <p:sldLayoutId id="2147483792" r:id="rId46"/>
    <p:sldLayoutId id="2147484110" r:id="rId47"/>
    <p:sldLayoutId id="2147483793" r:id="rId48"/>
    <p:sldLayoutId id="2147484111" r:id="rId49"/>
    <p:sldLayoutId id="2147483810" r:id="rId50"/>
    <p:sldLayoutId id="2147484112" r:id="rId51"/>
    <p:sldLayoutId id="2147483790" r:id="rId52"/>
    <p:sldLayoutId id="2147484113" r:id="rId53"/>
    <p:sldLayoutId id="2147483791" r:id="rId54"/>
    <p:sldLayoutId id="2147484114" r:id="rId55"/>
    <p:sldLayoutId id="2147483709" r:id="rId56"/>
    <p:sldLayoutId id="2147483848" r:id="rId57"/>
    <p:sldLayoutId id="2147483846" r:id="rId58"/>
    <p:sldLayoutId id="2147483710" r:id="rId59"/>
    <p:sldLayoutId id="2147483898" r:id="rId60"/>
    <p:sldLayoutId id="2147483899" r:id="rId61"/>
    <p:sldLayoutId id="2147483895" r:id="rId62"/>
    <p:sldLayoutId id="2147483847" r:id="rId63"/>
    <p:sldLayoutId id="2147483768" r:id="rId64"/>
    <p:sldLayoutId id="2147483769" r:id="rId65"/>
    <p:sldLayoutId id="2147483845" r:id="rId66"/>
    <p:sldLayoutId id="2147484080" r:id="rId67"/>
    <p:sldLayoutId id="2147483844" r:id="rId68"/>
    <p:sldLayoutId id="2147484081" r:id="rId69"/>
    <p:sldLayoutId id="2147483770" r:id="rId70"/>
    <p:sldLayoutId id="2147484082" r:id="rId71"/>
    <p:sldLayoutId id="2147483896" r:id="rId72"/>
    <p:sldLayoutId id="2147484089" r:id="rId73"/>
    <p:sldLayoutId id="2147483685" r:id="rId74"/>
    <p:sldLayoutId id="2147484090" r:id="rId75"/>
    <p:sldLayoutId id="2147483711" r:id="rId76"/>
    <p:sldLayoutId id="2147484091" r:id="rId77"/>
    <p:sldLayoutId id="2147483881" r:id="rId78"/>
    <p:sldLayoutId id="2147483883" r:id="rId79"/>
    <p:sldLayoutId id="2147483882" r:id="rId80"/>
    <p:sldLayoutId id="2147483884" r:id="rId81"/>
    <p:sldLayoutId id="2147484092" r:id="rId82"/>
    <p:sldLayoutId id="2147483885" r:id="rId83"/>
    <p:sldLayoutId id="2147484093" r:id="rId84"/>
    <p:sldLayoutId id="2147483886" r:id="rId85"/>
    <p:sldLayoutId id="2147484094" r:id="rId86"/>
    <p:sldLayoutId id="2147483887" r:id="rId87"/>
    <p:sldLayoutId id="2147484095" r:id="rId88"/>
    <p:sldLayoutId id="2147483796" r:id="rId89"/>
    <p:sldLayoutId id="2147484043" r:id="rId90"/>
    <p:sldLayoutId id="2147483698" r:id="rId91"/>
    <p:sldLayoutId id="2147484048" r:id="rId92"/>
    <p:sldLayoutId id="2147483774" r:id="rId93"/>
    <p:sldLayoutId id="2147483772" r:id="rId94"/>
    <p:sldLayoutId id="2147483718" r:id="rId95"/>
    <p:sldLayoutId id="2147483773" r:id="rId96"/>
    <p:sldLayoutId id="2147483776" r:id="rId97"/>
    <p:sldLayoutId id="2147483775" r:id="rId98"/>
    <p:sldLayoutId id="2147483777" r:id="rId99"/>
    <p:sldLayoutId id="2147484045" r:id="rId100"/>
    <p:sldLayoutId id="2147483700" r:id="rId101"/>
    <p:sldLayoutId id="2147484044" r:id="rId102"/>
    <p:sldLayoutId id="2147483778" r:id="rId103"/>
    <p:sldLayoutId id="2147483720" r:id="rId104"/>
    <p:sldLayoutId id="2147483781" r:id="rId105"/>
    <p:sldLayoutId id="2147483780" r:id="rId106"/>
    <p:sldLayoutId id="2147483779" r:id="rId107"/>
    <p:sldLayoutId id="2147483782" r:id="rId108"/>
    <p:sldLayoutId id="2147483676" r:id="rId109"/>
    <p:sldLayoutId id="2147483783" r:id="rId110"/>
    <p:sldLayoutId id="2147483830" r:id="rId111"/>
    <p:sldLayoutId id="2147483831" r:id="rId112"/>
    <p:sldLayoutId id="2147483716" r:id="rId113"/>
    <p:sldLayoutId id="2147483705" r:id="rId114"/>
    <p:sldLayoutId id="2147483833" r:id="rId115"/>
    <p:sldLayoutId id="2147483834" r:id="rId116"/>
    <p:sldLayoutId id="2147483832" r:id="rId117"/>
    <p:sldLayoutId id="2147483717" r:id="rId118"/>
    <p:sldLayoutId id="2147483721" r:id="rId119"/>
    <p:sldLayoutId id="2147484042" r:id="rId120"/>
    <p:sldLayoutId id="2147483849" r:id="rId121"/>
    <p:sldLayoutId id="2147484046" r:id="rId122"/>
    <p:sldLayoutId id="2147483850" r:id="rId123"/>
    <p:sldLayoutId id="2147483853" r:id="rId124"/>
    <p:sldLayoutId id="2147483851" r:id="rId125"/>
    <p:sldLayoutId id="2147483854" r:id="rId126"/>
    <p:sldLayoutId id="2147483723" r:id="rId127"/>
    <p:sldLayoutId id="2147483852" r:id="rId128"/>
    <p:sldLayoutId id="2147483724" r:id="rId129"/>
    <p:sldLayoutId id="2147483726" r:id="rId130"/>
    <p:sldLayoutId id="2147483855" r:id="rId131"/>
    <p:sldLayoutId id="2147484047" r:id="rId132"/>
    <p:sldLayoutId id="2147483856" r:id="rId133"/>
    <p:sldLayoutId id="2147483857" r:id="rId134"/>
    <p:sldLayoutId id="2147483725" r:id="rId135"/>
    <p:sldLayoutId id="2147483860" r:id="rId136"/>
    <p:sldLayoutId id="2147483858" r:id="rId137"/>
    <p:sldLayoutId id="2147483859" r:id="rId138"/>
    <p:sldLayoutId id="2147483928" r:id="rId139"/>
    <p:sldLayoutId id="2147484083" r:id="rId140"/>
    <p:sldLayoutId id="2147483906" r:id="rId141"/>
    <p:sldLayoutId id="2147484084" r:id="rId142"/>
    <p:sldLayoutId id="2147483929" r:id="rId143"/>
    <p:sldLayoutId id="2147484115" r:id="rId144"/>
    <p:sldLayoutId id="2147484116" r:id="rId145"/>
    <p:sldLayoutId id="2147483930" r:id="rId146"/>
    <p:sldLayoutId id="2147483931" r:id="rId147"/>
    <p:sldLayoutId id="2147484117" r:id="rId148"/>
    <p:sldLayoutId id="2147483933" r:id="rId149"/>
    <p:sldLayoutId id="2147484049" r:id="rId150"/>
    <p:sldLayoutId id="2147483907" r:id="rId151"/>
    <p:sldLayoutId id="2147484050" r:id="rId152"/>
    <p:sldLayoutId id="2147483934" r:id="rId153"/>
    <p:sldLayoutId id="2147484051" r:id="rId154"/>
    <p:sldLayoutId id="2147483935" r:id="rId155"/>
    <p:sldLayoutId id="2147484052" r:id="rId156"/>
    <p:sldLayoutId id="2147483932" r:id="rId157"/>
    <p:sldLayoutId id="2147484053" r:id="rId158"/>
    <p:sldLayoutId id="2147483937" r:id="rId159"/>
    <p:sldLayoutId id="2147484054" r:id="rId160"/>
    <p:sldLayoutId id="2147483820" r:id="rId161"/>
    <p:sldLayoutId id="2147483819" r:id="rId162"/>
    <p:sldLayoutId id="2147484055" r:id="rId163"/>
    <p:sldLayoutId id="2147483818" r:id="rId164"/>
    <p:sldLayoutId id="2147484136" r:id="rId165"/>
    <p:sldLayoutId id="2147483729" r:id="rId166"/>
    <p:sldLayoutId id="2147483728" r:id="rId167"/>
    <p:sldLayoutId id="2147483817" r:id="rId168"/>
    <p:sldLayoutId id="2147483822" r:id="rId169"/>
    <p:sldLayoutId id="2147483821" r:id="rId170"/>
    <p:sldLayoutId id="2147483938" r:id="rId171"/>
    <p:sldLayoutId id="2147483913" r:id="rId172"/>
    <p:sldLayoutId id="2147484018" r:id="rId173"/>
    <p:sldLayoutId id="2147484019" r:id="rId174"/>
    <p:sldLayoutId id="2147484020" r:id="rId175"/>
    <p:sldLayoutId id="2147484021" r:id="rId176"/>
    <p:sldLayoutId id="2147484022" r:id="rId177"/>
    <p:sldLayoutId id="2147484024" r:id="rId178"/>
    <p:sldLayoutId id="2147484023" r:id="rId179"/>
    <p:sldLayoutId id="2147484025" r:id="rId180"/>
    <p:sldLayoutId id="2147484026" r:id="rId181"/>
    <p:sldLayoutId id="2147484027" r:id="rId182"/>
    <p:sldLayoutId id="2147483914" r:id="rId183"/>
    <p:sldLayoutId id="2147484028" r:id="rId184"/>
    <p:sldLayoutId id="2147484029" r:id="rId185"/>
    <p:sldLayoutId id="2147484030" r:id="rId186"/>
    <p:sldLayoutId id="2147484031" r:id="rId187"/>
    <p:sldLayoutId id="2147484032" r:id="rId188"/>
    <p:sldLayoutId id="2147484034" r:id="rId189"/>
    <p:sldLayoutId id="2147484033" r:id="rId190"/>
    <p:sldLayoutId id="2147484035" r:id="rId191"/>
    <p:sldLayoutId id="2147483915" r:id="rId192"/>
    <p:sldLayoutId id="2147484036" r:id="rId193"/>
    <p:sldLayoutId id="2147484037" r:id="rId194"/>
    <p:sldLayoutId id="2147484038" r:id="rId195"/>
    <p:sldLayoutId id="2147483939" r:id="rId196"/>
    <p:sldLayoutId id="2147484085" r:id="rId197"/>
    <p:sldLayoutId id="2147483909" r:id="rId198"/>
    <p:sldLayoutId id="2147484086" r:id="rId199"/>
    <p:sldLayoutId id="2147483940" r:id="rId200"/>
    <p:sldLayoutId id="2147484118" r:id="rId201"/>
    <p:sldLayoutId id="2147483941" r:id="rId202"/>
    <p:sldLayoutId id="2147484119" r:id="rId203"/>
    <p:sldLayoutId id="2147483944" r:id="rId204"/>
    <p:sldLayoutId id="2147484120" r:id="rId205"/>
    <p:sldLayoutId id="2147483947" r:id="rId206"/>
    <p:sldLayoutId id="2147484087" r:id="rId207"/>
    <p:sldLayoutId id="2147483908" r:id="rId208"/>
    <p:sldLayoutId id="2147484088" r:id="rId209"/>
    <p:sldLayoutId id="2147483942" r:id="rId210"/>
    <p:sldLayoutId id="2147484121" r:id="rId211"/>
    <p:sldLayoutId id="2147483943" r:id="rId212"/>
    <p:sldLayoutId id="2147484122" r:id="rId213"/>
    <p:sldLayoutId id="2147483946" r:id="rId214"/>
    <p:sldLayoutId id="2147483945" r:id="rId215"/>
    <p:sldLayoutId id="2147483948" r:id="rId216"/>
    <p:sldLayoutId id="2147483759" r:id="rId217"/>
    <p:sldLayoutId id="2147484056" r:id="rId218"/>
    <p:sldLayoutId id="2147483865" r:id="rId219"/>
    <p:sldLayoutId id="2147483867" r:id="rId220"/>
    <p:sldLayoutId id="2147483868" r:id="rId221"/>
    <p:sldLayoutId id="2147483869" r:id="rId222"/>
    <p:sldLayoutId id="2147483870" r:id="rId223"/>
    <p:sldLayoutId id="2147483871" r:id="rId224"/>
    <p:sldLayoutId id="2147483872" r:id="rId225"/>
    <p:sldLayoutId id="2147483889" r:id="rId226"/>
    <p:sldLayoutId id="2147483737" r:id="rId227"/>
    <p:sldLayoutId id="2147483890" r:id="rId228"/>
    <p:sldLayoutId id="2147483842" r:id="rId229"/>
    <p:sldLayoutId id="2147483862" r:id="rId230"/>
    <p:sldLayoutId id="2147483891" r:id="rId231"/>
    <p:sldLayoutId id="2147483863" r:id="rId232"/>
    <p:sldLayoutId id="2147483900" r:id="rId233"/>
    <p:sldLayoutId id="2147483960" r:id="rId234"/>
    <p:sldLayoutId id="2147483864" r:id="rId235"/>
    <p:sldLayoutId id="2147483950" r:id="rId236"/>
    <p:sldLayoutId id="2147483953" r:id="rId237"/>
    <p:sldLayoutId id="2147483954" r:id="rId238"/>
    <p:sldLayoutId id="2147483892" r:id="rId239"/>
    <p:sldLayoutId id="2147483843" r:id="rId240"/>
    <p:sldLayoutId id="2147483955" r:id="rId241"/>
    <p:sldLayoutId id="2147483956" r:id="rId242"/>
    <p:sldLayoutId id="2147483957" r:id="rId243"/>
    <p:sldLayoutId id="2147483958" r:id="rId244"/>
    <p:sldLayoutId id="2147483965" r:id="rId245"/>
    <p:sldLayoutId id="2147484058" r:id="rId246"/>
    <p:sldLayoutId id="2147483964" r:id="rId247"/>
    <p:sldLayoutId id="2147484059" r:id="rId248"/>
    <p:sldLayoutId id="2147483959" r:id="rId249"/>
    <p:sldLayoutId id="2147483962" r:id="rId250"/>
    <p:sldLayoutId id="2147483738" r:id="rId251"/>
    <p:sldLayoutId id="2147483963" r:id="rId252"/>
    <p:sldLayoutId id="2147483967" r:id="rId253"/>
    <p:sldLayoutId id="2147483758" r:id="rId254"/>
    <p:sldLayoutId id="2147484057" r:id="rId255"/>
    <p:sldLayoutId id="2147483866" r:id="rId256"/>
    <p:sldLayoutId id="2147483874" r:id="rId257"/>
    <p:sldLayoutId id="2147483875" r:id="rId258"/>
    <p:sldLayoutId id="2147483876" r:id="rId259"/>
    <p:sldLayoutId id="2147483877" r:id="rId260"/>
    <p:sldLayoutId id="2147483878" r:id="rId261"/>
    <p:sldLayoutId id="2147483880" r:id="rId262"/>
    <p:sldLayoutId id="2147483740" r:id="rId263"/>
    <p:sldLayoutId id="2147484060" r:id="rId264"/>
    <p:sldLayoutId id="2147483968" r:id="rId265"/>
    <p:sldLayoutId id="2147484061" r:id="rId266"/>
    <p:sldLayoutId id="2147483969" r:id="rId267"/>
    <p:sldLayoutId id="2147483970" r:id="rId268"/>
    <p:sldLayoutId id="2147483971" r:id="rId269"/>
    <p:sldLayoutId id="2147483973" r:id="rId270"/>
    <p:sldLayoutId id="2147483974" r:id="rId271"/>
    <p:sldLayoutId id="2147483893" r:id="rId272"/>
    <p:sldLayoutId id="2147483975" r:id="rId273"/>
    <p:sldLayoutId id="2147483894" r:id="rId274"/>
    <p:sldLayoutId id="2147483976" r:id="rId275"/>
    <p:sldLayoutId id="2147483977" r:id="rId276"/>
    <p:sldLayoutId id="2147483979" r:id="rId277"/>
    <p:sldLayoutId id="2147483978" r:id="rId278"/>
    <p:sldLayoutId id="2147483980" r:id="rId279"/>
    <p:sldLayoutId id="2147483949" r:id="rId280"/>
    <p:sldLayoutId id="2147483733" r:id="rId281"/>
    <p:sldLayoutId id="2147483732" r:id="rId282"/>
    <p:sldLayoutId id="2147483734" r:id="rId283"/>
    <p:sldLayoutId id="2147483797" r:id="rId284"/>
    <p:sldLayoutId id="2147483736" r:id="rId285"/>
    <p:sldLayoutId id="2147483798" r:id="rId286"/>
    <p:sldLayoutId id="2147483802" r:id="rId287"/>
    <p:sldLayoutId id="2147483800" r:id="rId288"/>
    <p:sldLayoutId id="2147483735" r:id="rId289"/>
    <p:sldLayoutId id="2147483799" r:id="rId290"/>
    <p:sldLayoutId id="2147483981" r:id="rId291"/>
    <p:sldLayoutId id="2147483749" r:id="rId292"/>
    <p:sldLayoutId id="2147484062" r:id="rId293"/>
    <p:sldLayoutId id="2147483982" r:id="rId294"/>
    <p:sldLayoutId id="2147484063" r:id="rId295"/>
    <p:sldLayoutId id="2147483985" r:id="rId296"/>
    <p:sldLayoutId id="2147484064" r:id="rId297"/>
    <p:sldLayoutId id="2147483987" r:id="rId298"/>
    <p:sldLayoutId id="2147484065" r:id="rId299"/>
    <p:sldLayoutId id="2147483984" r:id="rId300"/>
    <p:sldLayoutId id="2147484137" r:id="rId301"/>
    <p:sldLayoutId id="2147483750" r:id="rId302"/>
    <p:sldLayoutId id="2147483983" r:id="rId303"/>
    <p:sldLayoutId id="2147483989" r:id="rId304"/>
    <p:sldLayoutId id="2147483986" r:id="rId305"/>
    <p:sldLayoutId id="2147483990" r:id="rId306"/>
    <p:sldLayoutId id="2147483988" r:id="rId307"/>
    <p:sldLayoutId id="2147483991" r:id="rId308"/>
    <p:sldLayoutId id="2147484066" r:id="rId309"/>
    <p:sldLayoutId id="2147483751" r:id="rId310"/>
    <p:sldLayoutId id="2147484067" r:id="rId311"/>
    <p:sldLayoutId id="2147483993" r:id="rId312"/>
    <p:sldLayoutId id="2147484068" r:id="rId313"/>
    <p:sldLayoutId id="2147483995" r:id="rId314"/>
    <p:sldLayoutId id="2147484069" r:id="rId315"/>
    <p:sldLayoutId id="2147483997" r:id="rId316"/>
    <p:sldLayoutId id="2147484138" r:id="rId317"/>
    <p:sldLayoutId id="2147483992" r:id="rId318"/>
    <p:sldLayoutId id="2147483752" r:id="rId319"/>
    <p:sldLayoutId id="2147483998" r:id="rId320"/>
    <p:sldLayoutId id="2147483994" r:id="rId321"/>
    <p:sldLayoutId id="2147483999" r:id="rId322"/>
    <p:sldLayoutId id="2147483996" r:id="rId323"/>
    <p:sldLayoutId id="2147484000" r:id="rId324"/>
    <p:sldLayoutId id="2147484070" r:id="rId325"/>
    <p:sldLayoutId id="2147484003" r:id="rId326"/>
    <p:sldLayoutId id="2147484071" r:id="rId327"/>
    <p:sldLayoutId id="2147484002" r:id="rId328"/>
    <p:sldLayoutId id="2147484072" r:id="rId329"/>
    <p:sldLayoutId id="2147483754" r:id="rId330"/>
    <p:sldLayoutId id="2147484073" r:id="rId331"/>
    <p:sldLayoutId id="2147484005" r:id="rId332"/>
    <p:sldLayoutId id="2147484139" r:id="rId333"/>
    <p:sldLayoutId id="2147484001" r:id="rId334"/>
    <p:sldLayoutId id="2147484004" r:id="rId335"/>
    <p:sldLayoutId id="2147484006" r:id="rId336"/>
    <p:sldLayoutId id="2147483753" r:id="rId337"/>
    <p:sldLayoutId id="2147484007" r:id="rId338"/>
    <p:sldLayoutId id="2147484008" r:id="rId339"/>
    <p:sldLayoutId id="2147484141" r:id="rId340"/>
    <p:sldLayoutId id="2147484143" r:id="rId341"/>
    <p:sldLayoutId id="2147484144" r:id="rId342"/>
    <p:sldLayoutId id="2147484145" r:id="rId343"/>
    <p:sldLayoutId id="2147484009" r:id="rId344"/>
    <p:sldLayoutId id="2147483730" r:id="rId345"/>
    <p:sldLayoutId id="2147484123" r:id="rId346"/>
    <p:sldLayoutId id="2147483901" r:id="rId347"/>
    <p:sldLayoutId id="2147484124" r:id="rId348"/>
    <p:sldLayoutId id="2147483902" r:id="rId349"/>
    <p:sldLayoutId id="2147484125" r:id="rId350"/>
    <p:sldLayoutId id="2147483904" r:id="rId351"/>
    <p:sldLayoutId id="2147484126" r:id="rId352"/>
    <p:sldLayoutId id="2147483905" r:id="rId353"/>
    <p:sldLayoutId id="2147484127" r:id="rId354"/>
    <p:sldLayoutId id="2147483731" r:id="rId355"/>
    <p:sldLayoutId id="2147484128" r:id="rId356"/>
    <p:sldLayoutId id="2147483803" r:id="rId357"/>
    <p:sldLayoutId id="2147484129" r:id="rId358"/>
    <p:sldLayoutId id="2147484010" r:id="rId359"/>
    <p:sldLayoutId id="2147484130" r:id="rId360"/>
    <p:sldLayoutId id="2147483811" r:id="rId361"/>
    <p:sldLayoutId id="2147483812" r:id="rId362"/>
    <p:sldLayoutId id="2147483807" r:id="rId363"/>
    <p:sldLayoutId id="2147483813" r:id="rId364"/>
    <p:sldLayoutId id="2147483814" r:id="rId365"/>
    <p:sldLayoutId id="2147483815" r:id="rId366"/>
    <p:sldLayoutId id="2147484011" r:id="rId367"/>
    <p:sldLayoutId id="2147484012" r:id="rId368"/>
    <p:sldLayoutId id="2147484013" r:id="rId369"/>
    <p:sldLayoutId id="2147484014" r:id="rId370"/>
    <p:sldLayoutId id="2147483809" r:id="rId371"/>
    <p:sldLayoutId id="2147483861" r:id="rId372"/>
    <p:sldLayoutId id="2147484131" r:id="rId373"/>
    <p:sldLayoutId id="2147484132" r:id="rId374"/>
    <p:sldLayoutId id="2147484015" r:id="rId375"/>
    <p:sldLayoutId id="2147484133" r:id="rId376"/>
    <p:sldLayoutId id="2147484135" r:id="rId377"/>
    <p:sldLayoutId id="2147484134" r:id="rId378"/>
    <p:sldLayoutId id="2147483816" r:id="rId379"/>
    <p:sldLayoutId id="2147484140" r:id="rId380"/>
    <p:sldLayoutId id="2147484016" r:id="rId381"/>
    <p:sldLayoutId id="2147483743" r:id="rId382"/>
    <p:sldLayoutId id="2147483756" r:id="rId383"/>
    <p:sldLayoutId id="2147483742" r:id="rId384"/>
    <p:sldLayoutId id="2147483888" r:id="rId385"/>
    <p:sldLayoutId id="2147484148" r:id="rId386"/>
    <p:sldLayoutId id="2147484149" r:id="rId38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0" kern="1200" cap="all" spc="30" baseline="0">
          <a:solidFill>
            <a:srgbClr val="10065A"/>
          </a:solidFill>
          <a:latin typeface="Montserrat Black" pitchFamily="2" charset="0"/>
          <a:ea typeface="+mj-ea"/>
          <a:cs typeface="+mj-cs"/>
        </a:defRPr>
      </a:lvl1pPr>
    </p:titleStyle>
    <p:bodyStyle>
      <a:lvl1pPr marL="263525" indent="-263525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rgbClr val="10065A"/>
        </a:buClr>
        <a:buFont typeface="VCI_Symbole" panose="02000503000000000000" pitchFamily="2" charset="2"/>
        <a:buChar char=""/>
        <a:defRPr sz="2400" kern="1200">
          <a:solidFill>
            <a:srgbClr val="10065A"/>
          </a:solidFill>
          <a:latin typeface="Source Sans Pro" panose="020B0503030403020204" pitchFamily="34" charset="0"/>
          <a:ea typeface="+mn-ea"/>
          <a:cs typeface="+mn-cs"/>
        </a:defRPr>
      </a:lvl1pPr>
      <a:lvl2pPr marL="719138" indent="-431800" algn="l" defTabSz="914400" rtl="0" eaLnBrk="1" latinLnBrk="0" hangingPunct="1">
        <a:lnSpc>
          <a:spcPct val="100000"/>
        </a:lnSpc>
        <a:spcBef>
          <a:spcPts val="500"/>
        </a:spcBef>
        <a:buClr>
          <a:srgbClr val="10065A"/>
        </a:buClr>
        <a:buFont typeface="VCI_Symbole" panose="02000503000000000000" pitchFamily="2" charset="2"/>
        <a:buChar char=""/>
        <a:defRPr lang="de-DE" sz="2400" kern="1200" dirty="0">
          <a:solidFill>
            <a:srgbClr val="10065A"/>
          </a:solidFill>
          <a:latin typeface="Source Sans Pro" panose="020B0503030403020204" pitchFamily="34" charset="0"/>
          <a:ea typeface="+mn-ea"/>
          <a:cs typeface="+mn-cs"/>
        </a:defRPr>
      </a:lvl2pPr>
      <a:lvl3pPr marL="1160463" indent="-441325" algn="l" defTabSz="914400" rtl="0" eaLnBrk="1" latinLnBrk="0" hangingPunct="1">
        <a:lnSpc>
          <a:spcPct val="100000"/>
        </a:lnSpc>
        <a:spcBef>
          <a:spcPts val="500"/>
        </a:spcBef>
        <a:buClr>
          <a:srgbClr val="10065A"/>
        </a:buClr>
        <a:buFont typeface="VCI_Symbole" panose="02000503000000000000" pitchFamily="2" charset="2"/>
        <a:buChar char=""/>
        <a:defRPr lang="de-DE" sz="2400" kern="1200" dirty="0">
          <a:solidFill>
            <a:srgbClr val="10065A"/>
          </a:solidFill>
          <a:latin typeface="Source Sans Pro" panose="020B0503030403020204" pitchFamily="34" charset="0"/>
          <a:ea typeface="+mn-ea"/>
          <a:cs typeface="+mn-cs"/>
        </a:defRPr>
      </a:lvl3pPr>
      <a:lvl4pPr marL="1612900" indent="-452438" algn="l" defTabSz="914400" rtl="0" eaLnBrk="1" latinLnBrk="0" hangingPunct="1">
        <a:lnSpc>
          <a:spcPct val="100000"/>
        </a:lnSpc>
        <a:spcBef>
          <a:spcPts val="500"/>
        </a:spcBef>
        <a:buClr>
          <a:srgbClr val="10065A"/>
        </a:buClr>
        <a:buFont typeface="VCI_Symbole" panose="02000503000000000000" pitchFamily="2" charset="2"/>
        <a:buChar char=""/>
        <a:defRPr lang="de-DE" sz="2400" kern="1200" dirty="0">
          <a:solidFill>
            <a:srgbClr val="10065A"/>
          </a:solidFill>
          <a:latin typeface="Source Sans Pro" panose="020B0503030403020204" pitchFamily="34" charset="0"/>
          <a:ea typeface="+mn-ea"/>
          <a:cs typeface="+mn-cs"/>
        </a:defRPr>
      </a:lvl4pPr>
      <a:lvl5pPr marL="2057400" indent="-446088" algn="l" defTabSz="914400" rtl="0" eaLnBrk="1" latinLnBrk="0" hangingPunct="1">
        <a:lnSpc>
          <a:spcPct val="90000"/>
        </a:lnSpc>
        <a:spcBef>
          <a:spcPts val="500"/>
        </a:spcBef>
        <a:buClr>
          <a:srgbClr val="10065A"/>
        </a:buClr>
        <a:buFont typeface="VCI_Symbole" panose="02000503000000000000" pitchFamily="2" charset="2"/>
        <a:buChar char=""/>
        <a:defRPr lang="de-DE" sz="2400" kern="1200" dirty="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6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8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84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84.xml"/><Relationship Id="rId1" Type="http://schemas.openxmlformats.org/officeDocument/2006/relationships/tags" Target="../tags/tag5.xml"/><Relationship Id="rId6" Type="http://schemas.openxmlformats.org/officeDocument/2006/relationships/chart" Target="../charts/chart3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84.xml"/><Relationship Id="rId1" Type="http://schemas.openxmlformats.org/officeDocument/2006/relationships/tags" Target="../tags/tag6.xml"/><Relationship Id="rId6" Type="http://schemas.openxmlformats.org/officeDocument/2006/relationships/chart" Target="../charts/chart4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0.xml"/><Relationship Id="rId1" Type="http://schemas.openxmlformats.org/officeDocument/2006/relationships/tags" Target="../tags/tag7.xml"/><Relationship Id="rId6" Type="http://schemas.openxmlformats.org/officeDocument/2006/relationships/chart" Target="../charts/chart5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84.xml"/><Relationship Id="rId1" Type="http://schemas.openxmlformats.org/officeDocument/2006/relationships/tags" Target="../tags/tag8.xml"/><Relationship Id="rId6" Type="http://schemas.openxmlformats.org/officeDocument/2006/relationships/chart" Target="../charts/chart6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84.xml"/><Relationship Id="rId1" Type="http://schemas.openxmlformats.org/officeDocument/2006/relationships/tags" Target="../tags/tag9.xml"/><Relationship Id="rId6" Type="http://schemas.openxmlformats.org/officeDocument/2006/relationships/chart" Target="../charts/chart7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300.xml"/><Relationship Id="rId1" Type="http://schemas.openxmlformats.org/officeDocument/2006/relationships/tags" Target="../tags/tag10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A4B7F4-C014-5EBA-D6B1-7C028A5FFE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353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5" imgH="343" progId="TCLayout.ActiveDocument.1">
                  <p:embed/>
                </p:oleObj>
              </mc:Choice>
              <mc:Fallback>
                <p:oleObj name="think-cell Folie" r:id="rId3" imgW="345" imgH="34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A4B7F4-C014-5EBA-D6B1-7C028A5FF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E5F7C-6047-5F7D-8B0C-80B4CD24E83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Stand: Dezember 2025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48D3C23-0F12-CBCE-CFD7-D5C7D0E8C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ndustrieland Deutschland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40935B33-78AF-A12A-3B92-299B12C67D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aten und Fakten</a:t>
            </a:r>
          </a:p>
        </p:txBody>
      </p:sp>
    </p:spTree>
    <p:extLst>
      <p:ext uri="{BB962C8B-B14F-4D97-AF65-F5344CB8AC3E}">
        <p14:creationId xmlns:p14="http://schemas.microsoft.com/office/powerpoint/2010/main" val="22798264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7B425C-7D48-7C95-8099-E404AABB5A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262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5" imgH="343" progId="TCLayout.ActiveDocument.1">
                  <p:embed/>
                </p:oleObj>
              </mc:Choice>
              <mc:Fallback>
                <p:oleObj name="think-cell Folie" r:id="rId3" imgW="345" imgH="34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7B425C-7D48-7C95-8099-E404AABB5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2504903D-73E7-DB85-D4FF-960FAAA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nsprechpartneri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C42324B-7D3A-3F01-4D40-4C4154A9E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Christiane Kellerman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ED826F5-0856-7E45-6794-F98D1F7FE5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Senior-Managerin, Abteilung Volkswirtschaft</a:t>
            </a:r>
          </a:p>
          <a:p>
            <a:r>
              <a:rPr lang="de-DE" dirty="0"/>
              <a:t>+49 (69) 2556-1585</a:t>
            </a:r>
          </a:p>
          <a:p>
            <a:r>
              <a:rPr lang="de-DE" dirty="0"/>
              <a:t>kellermann@vci.de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90385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5D9A266-0091-D2C6-077C-27D6E16B41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485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D9A266-0091-D2C6-077C-27D6E16B41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Foliennummernplatzhalter 83">
            <a:extLst>
              <a:ext uri="{FF2B5EF4-FFF2-40B4-BE49-F238E27FC236}">
                <a16:creationId xmlns:a16="http://schemas.microsoft.com/office/drawing/2014/main" id="{374D86F3-A688-426E-B12F-5755E30711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2D4303-B7FF-7540-9F33-74BBD701814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e-DE" sz="1800" dirty="0"/>
              <a:t>Etwa ein Fünftel der gesamtwirtschaftlichen Bruttowertschöpfung wird derzeit in Deutschland direkt vom Verarbeitenden Gewerbe erbracht.</a:t>
            </a:r>
          </a:p>
          <a:p>
            <a:r>
              <a:rPr lang="de-DE" sz="1800" dirty="0"/>
              <a:t>Viele (unternehmensnahe) Dienstleistungsbereiche hängen zusätzlich von der Industrie ab.</a:t>
            </a:r>
          </a:p>
          <a:p>
            <a:r>
              <a:rPr lang="de-DE" sz="1800" dirty="0"/>
              <a:t>Damit wird ca. 40 Prozent der Wertschöpfung direkt und indirekt von der Industrie erbracht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dirty="0"/>
              <a:t>Quellen: Destatis, VCI		* Sofern nicht anders ausgewiesen, werden die Begriffe Industrie und Verarbeitendes Gewerbe synonym verwendet</a:t>
            </a:r>
          </a:p>
          <a:p>
            <a:endParaRPr lang="de-DE" dirty="0"/>
          </a:p>
        </p:txBody>
      </p:sp>
      <p:graphicFrame>
        <p:nvGraphicFramePr>
          <p:cNvPr id="15" name="Diagrammplatzhalter 12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 noGrp="1"/>
          </p:cNvGraphicFramePr>
          <p:nvPr>
            <p:ph type="chart" sz="quarter" idx="18"/>
            <p:extLst>
              <p:ext uri="{D42A27DB-BD31-4B8C-83A1-F6EECF244321}">
                <p14:modId xmlns:p14="http://schemas.microsoft.com/office/powerpoint/2010/main" val="2816113229"/>
              </p:ext>
            </p:extLst>
          </p:nvPr>
        </p:nvGraphicFramePr>
        <p:xfrm>
          <a:off x="623888" y="1871663"/>
          <a:ext cx="7270750" cy="392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nteile der Wirtschaftsbereiche an der gesamten Bruttowertschöpfung, 2024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ruttowertschöpfung in Deutschland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/>
          <a:lstStyle/>
          <a:p>
            <a:r>
              <a:rPr lang="de-DE" dirty="0"/>
              <a:t>Die Industrie: wichtige Stütze der Wirtschaft</a:t>
            </a:r>
          </a:p>
        </p:txBody>
      </p:sp>
    </p:spTree>
    <p:extLst>
      <p:ext uri="{BB962C8B-B14F-4D97-AF65-F5344CB8AC3E}">
        <p14:creationId xmlns:p14="http://schemas.microsoft.com/office/powerpoint/2010/main" val="1881659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CC0F305-C2C8-15C6-0279-1BF5616E75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2913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C0F305-C2C8-15C6-0279-1BF5616E7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D8A6C0-516A-45EC-A0E7-08556684B3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2D4303-B7FF-7540-9F33-74BBD701814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e-DE" dirty="0"/>
              <a:t>Über 6 Mio. Personen sind in der deutschen Industrie unmittelbar beschäftigt.</a:t>
            </a:r>
          </a:p>
          <a:p>
            <a:r>
              <a:rPr lang="de-DE" dirty="0"/>
              <a:t>Nach der erfolgreichen Restrukturierung der Industrie nach dem letzten Wirtschafts-abschwung, hat die Beschäftigung in der Industrie hierzulande trotz Outsourcing wieder zugenommen.</a:t>
            </a:r>
          </a:p>
          <a:p>
            <a:r>
              <a:rPr lang="de-DE" dirty="0"/>
              <a:t>Corona bremste diese positive Entwicklung.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dirty="0"/>
              <a:t>Quelle: </a:t>
            </a:r>
            <a:r>
              <a:rPr lang="de-DE" dirty="0" err="1"/>
              <a:t>Destatis</a:t>
            </a:r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Beschäftigte im Verarbeitenden Gewerbe in 1.000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ntwicklung der Beschäftigung in der Industri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/>
          <a:lstStyle/>
          <a:p>
            <a:r>
              <a:rPr lang="de-DE" dirty="0"/>
              <a:t>Die Industrie: wichtiger Arbeitgeber</a:t>
            </a:r>
          </a:p>
        </p:txBody>
      </p:sp>
      <p:graphicFrame>
        <p:nvGraphicFramePr>
          <p:cNvPr id="11" name="Diagrammplatzhalter 11">
            <a:extLst>
              <a:ext uri="{FF2B5EF4-FFF2-40B4-BE49-F238E27FC236}">
                <a16:creationId xmlns:a16="http://schemas.microsoft.com/office/drawing/2014/main" id="{00000000-0008-0000-0E00-000002000000}"/>
              </a:ext>
            </a:extLst>
          </p:cNvPr>
          <p:cNvGraphicFramePr>
            <a:graphicFrameLocks noGrp="1"/>
          </p:cNvGraphicFramePr>
          <p:nvPr>
            <p:ph type="chart" sz="quarter" idx="18"/>
          </p:nvPr>
        </p:nvGraphicFramePr>
        <p:xfrm>
          <a:off x="623888" y="1871663"/>
          <a:ext cx="7270750" cy="392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45416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535E9DF-EA5E-2C1A-EB9A-C6E8302B1A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27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35E9DF-EA5E-2C1A-EB9A-C6E8302B1A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729484E3-08AA-40FB-9AE6-7799856743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2D4303-B7FF-7540-9F33-74BBD701814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e-DE" dirty="0"/>
              <a:t>Die Industrie ist ein attraktiver Arbeitgeber.</a:t>
            </a:r>
          </a:p>
          <a:p>
            <a:r>
              <a:rPr lang="de-DE" dirty="0"/>
              <a:t>Im Branchenvergleich gilt: Die deutsche Industrie zahlt hohe Arbeitsentgelte.</a:t>
            </a:r>
          </a:p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dirty="0"/>
              <a:t>Quellen: Destatis (VGR), Chemiezahlen: Destatis (nach Betrieben), VCI</a:t>
            </a:r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4DABBB2-F9A1-28C3-D494-D09B6E158D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In Euro, 2024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rbeitnehmerentgelt je Arbeitnehmer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/>
          <a:lstStyle/>
          <a:p>
            <a:r>
              <a:rPr lang="de-DE" dirty="0"/>
              <a:t>Die Industrie: zahlt hohe Löhne und Gehälter</a:t>
            </a:r>
          </a:p>
        </p:txBody>
      </p:sp>
      <p:graphicFrame>
        <p:nvGraphicFramePr>
          <p:cNvPr id="9" name="Diagrammplatzhalter 12">
            <a:extLst>
              <a:ext uri="{FF2B5EF4-FFF2-40B4-BE49-F238E27FC236}">
                <a16:creationId xmlns:a16="http://schemas.microsoft.com/office/drawing/2014/main" id="{F70BF7AD-F36C-49BA-9949-DE2D1B09518B}"/>
              </a:ext>
            </a:extLst>
          </p:cNvPr>
          <p:cNvGraphicFramePr>
            <a:graphicFrameLocks noGrp="1"/>
          </p:cNvGraphicFramePr>
          <p:nvPr>
            <p:ph type="chart" sz="quarter" idx="18"/>
          </p:nvPr>
        </p:nvGraphicFramePr>
        <p:xfrm>
          <a:off x="623888" y="1871663"/>
          <a:ext cx="7270750" cy="392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672771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43C163B-B40A-4EBA-B951-675BA7EC8F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2799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43C163B-B40A-4EBA-B951-675BA7EC8F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BD593CE0-1F6F-4FBE-899A-64667CFC63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2D4303-B7FF-7540-9F33-74BBD701814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e-DE" dirty="0"/>
              <a:t>Deutschland ist Weltmeister im Warenexport.</a:t>
            </a:r>
          </a:p>
          <a:p>
            <a:r>
              <a:rPr lang="de-DE" dirty="0"/>
              <a:t>Deutsche Waren sind gefragt: Ausfuhren wachsen dynamisch.</a:t>
            </a:r>
          </a:p>
          <a:p>
            <a:r>
              <a:rPr lang="de-DE" dirty="0"/>
              <a:t>80 Prozent der gesamten Warenausfuhren stammen aus dem Verarbeitenden Gewerbe.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dirty="0"/>
              <a:t>Quellen: </a:t>
            </a:r>
            <a:r>
              <a:rPr lang="de-DE" dirty="0" err="1"/>
              <a:t>Macrobond</a:t>
            </a:r>
            <a:r>
              <a:rPr lang="de-DE" dirty="0"/>
              <a:t>, VCI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ußenhandel des deutschen Verarbeitenden Gewerbes in Mrd. Euro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ußenhandel der Industrie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/>
          <a:lstStyle/>
          <a:p>
            <a:r>
              <a:rPr lang="de-DE" dirty="0"/>
              <a:t>Die Industrie: Exportstark</a:t>
            </a:r>
          </a:p>
        </p:txBody>
      </p:sp>
      <p:graphicFrame>
        <p:nvGraphicFramePr>
          <p:cNvPr id="7" name="Diagrammplatzhalter 6">
            <a:extLst>
              <a:ext uri="{FF2B5EF4-FFF2-40B4-BE49-F238E27FC236}">
                <a16:creationId xmlns:a16="http://schemas.microsoft.com/office/drawing/2014/main" id="{5C37D720-7D7C-8FE0-AB30-FD0498C84C1D}"/>
              </a:ext>
            </a:extLst>
          </p:cNvPr>
          <p:cNvGraphicFramePr>
            <a:graphicFrameLocks noGrp="1"/>
          </p:cNvGraphicFramePr>
          <p:nvPr>
            <p:ph type="chart" sz="quarter" idx="18"/>
          </p:nvPr>
        </p:nvGraphicFramePr>
        <p:xfrm>
          <a:off x="623888" y="1871663"/>
          <a:ext cx="7270750" cy="392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052696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60A80-3744-4A5A-92AA-12C4299D63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7262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60A80-3744-4A5A-92AA-12C4299D63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B15613B4-2376-43A3-B936-AA66105B23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2D4303-B7FF-7540-9F33-74BBD701814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2"/>
          </p:nvPr>
        </p:nvSpPr>
        <p:spPr/>
        <p:txBody>
          <a:bodyPr/>
          <a:lstStyle/>
          <a:p>
            <a:r>
              <a:rPr lang="de-DE" dirty="0"/>
              <a:t>Deutschland ist zwar ein guter Industriestandort, hat im Standortwettbewerb aber bis 2024 an Rangplätzen verloren.</a:t>
            </a:r>
          </a:p>
          <a:p>
            <a:r>
              <a:rPr lang="de-DE" dirty="0"/>
              <a:t>Strukturelle Hemmnisse wie hohe Energiepreise, Bürokratie, Fachkräftemangel und langsame Genehmigungsverfahren bremsen Investitionen und Innovationen.</a:t>
            </a:r>
          </a:p>
          <a:p>
            <a:r>
              <a:rPr lang="de-DE" dirty="0"/>
              <a:t>Im jüngsten Bericht schneidet der Standort wieder besser ab – Vorschusslorbeeren auf angekündigte Reformen?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dirty="0"/>
              <a:t>Quellen: IMD, VCI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Rangplätze Deutschlands unter 67 Ländern nach Bereichen von 2020 bis 2025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ntwicklung des Rankings der Wettbewerbsfähigkeit des IMD (World </a:t>
            </a:r>
            <a:r>
              <a:rPr lang="de-DE" dirty="0" err="1"/>
              <a:t>Competitiveness</a:t>
            </a:r>
            <a:r>
              <a:rPr lang="de-DE" dirty="0"/>
              <a:t> Center)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/>
          <a:lstStyle/>
          <a:p>
            <a:r>
              <a:rPr lang="de-DE" dirty="0"/>
              <a:t>Bewertung des Standorts verbessert sich</a:t>
            </a:r>
          </a:p>
        </p:txBody>
      </p:sp>
      <p:graphicFrame>
        <p:nvGraphicFramePr>
          <p:cNvPr id="15" name="Diagrammplatzhalter 14">
            <a:extLst>
              <a:ext uri="{FF2B5EF4-FFF2-40B4-BE49-F238E27FC236}">
                <a16:creationId xmlns:a16="http://schemas.microsoft.com/office/drawing/2014/main" id="{EC8B2323-E4AF-6EB7-E525-DDB50A374073}"/>
              </a:ext>
            </a:extLst>
          </p:cNvPr>
          <p:cNvGraphicFramePr>
            <a:graphicFrameLocks noGrp="1"/>
          </p:cNvGraphicFramePr>
          <p:nvPr>
            <p:ph type="chart" sz="quarter" idx="18"/>
          </p:nvPr>
        </p:nvGraphicFramePr>
        <p:xfrm>
          <a:off x="623888" y="1871663"/>
          <a:ext cx="5291137" cy="392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04879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F6A9268-B3A1-4BDE-924E-9F48AF6425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11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F6A9268-B3A1-4BDE-924E-9F48AF6425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087C7F03-712C-4959-80A7-74E9795E98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2D4303-B7FF-7540-9F33-74BBD701814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e-DE" dirty="0"/>
              <a:t>Deutschland ist zwar immer noch deutlich auf die Industrie fokussiert. Die Bedeutung der Industrie hat aber in den vergangenen Jahren verloren. Spitzenreiter ist inzwischen Japan. </a:t>
            </a:r>
          </a:p>
          <a:p>
            <a:r>
              <a:rPr lang="de-DE" dirty="0"/>
              <a:t>In den anderen Industrieländern beläuft sich das Industriegewicht an der gesamten Wertschöpfung derzeit auf teilweise deutlich unter 20 Prozent.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dirty="0"/>
              <a:t>Quelle: OECD 	*Japan: 2023, USA: 2021 </a:t>
            </a:r>
          </a:p>
          <a:p>
            <a:r>
              <a:rPr lang="de-DE" dirty="0"/>
              <a:t>	** Sofern nicht anders ausgewiesen, werden die Begriffe Industrie und Verarbeitendes Gewerbe synonym verwendet</a:t>
            </a:r>
          </a:p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nteil der Industrie** an der gesamten Bruttowertschöpfung in Prozent, 2024</a:t>
            </a:r>
          </a:p>
          <a:p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dustrieanteil im Ländervergleich</a:t>
            </a:r>
          </a:p>
          <a:p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/>
          <a:lstStyle/>
          <a:p>
            <a:r>
              <a:rPr lang="de-DE" dirty="0"/>
              <a:t>Deutschland fällt hinter Japan zurück</a:t>
            </a:r>
            <a:endParaRPr lang="de-DE" dirty="0">
              <a:solidFill>
                <a:srgbClr val="FF0000"/>
              </a:solidFill>
            </a:endParaRPr>
          </a:p>
        </p:txBody>
      </p:sp>
      <p:graphicFrame>
        <p:nvGraphicFramePr>
          <p:cNvPr id="14" name="Diagrammplatzhalter 14">
            <a:extLst>
              <a:ext uri="{FF2B5EF4-FFF2-40B4-BE49-F238E27FC236}">
                <a16:creationId xmlns:a16="http://schemas.microsoft.com/office/drawing/2014/main" id="{00000000-0008-0000-0500-000002000000}"/>
              </a:ext>
            </a:extLst>
          </p:cNvPr>
          <p:cNvGraphicFramePr>
            <a:graphicFrameLocks noGrp="1"/>
          </p:cNvGraphicFramePr>
          <p:nvPr>
            <p:ph type="chart" sz="quarter" idx="18"/>
          </p:nvPr>
        </p:nvGraphicFramePr>
        <p:xfrm>
          <a:off x="623888" y="1871663"/>
          <a:ext cx="7270750" cy="392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455654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5765C894-60E6-47EB-A1E7-B028AB145E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0858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5765C894-60E6-47EB-A1E7-B028AB145E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Foliennummernplatzhalter 43">
            <a:extLst>
              <a:ext uri="{FF2B5EF4-FFF2-40B4-BE49-F238E27FC236}">
                <a16:creationId xmlns:a16="http://schemas.microsoft.com/office/drawing/2014/main" id="{52BB3933-8EBC-4889-B3F1-BAFA1C3F9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2D4303-B7FF-7540-9F33-74BBD701814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e-DE" sz="1800" dirty="0"/>
              <a:t>Der Anteil der Industrie an der Wertschöpfung blieb in Deutschland lange Jahre nahezu konstant bei über 22 Prozent. </a:t>
            </a:r>
          </a:p>
          <a:p>
            <a:r>
              <a:rPr lang="de-DE" sz="1800" dirty="0"/>
              <a:t>Aber die vergangenen Krisenjahre (Corona, Energiekrise, Industrierezession, Standortschwächen) hinterlassen zunehmend auch in Deutschland Spuren. Der Industrieanteil sinkt. </a:t>
            </a:r>
          </a:p>
          <a:p>
            <a:r>
              <a:rPr lang="de-DE" sz="1800" dirty="0"/>
              <a:t>Eine Trendumkehr zeichnet sich nicht ab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dirty="0"/>
              <a:t>Quelle: OECD		*2023 geschätzt</a:t>
            </a:r>
          </a:p>
          <a:p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in Prozent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teil der Industrie an der gesamten Bruttowertschöpfu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/>
          <a:lstStyle/>
          <a:p>
            <a:r>
              <a:rPr lang="de-DE" dirty="0"/>
              <a:t>Industrie verliert an Bedeutung</a:t>
            </a:r>
          </a:p>
        </p:txBody>
      </p:sp>
      <p:graphicFrame>
        <p:nvGraphicFramePr>
          <p:cNvPr id="17" name="Diagrammplatzhalter 16">
            <a:extLst>
              <a:ext uri="{FF2B5EF4-FFF2-40B4-BE49-F238E27FC236}">
                <a16:creationId xmlns:a16="http://schemas.microsoft.com/office/drawing/2014/main" id="{B004F6C2-9ACD-9C29-D1FA-0487C4D47EF5}"/>
              </a:ext>
            </a:extLst>
          </p:cNvPr>
          <p:cNvGraphicFramePr>
            <a:graphicFrameLocks noGrp="1"/>
          </p:cNvGraphicFramePr>
          <p:nvPr>
            <p:ph type="chart" sz="quarter" idx="18"/>
            <p:extLst>
              <p:ext uri="{D42A27DB-BD31-4B8C-83A1-F6EECF244321}">
                <p14:modId xmlns:p14="http://schemas.microsoft.com/office/powerpoint/2010/main" val="3400624966"/>
              </p:ext>
            </p:extLst>
          </p:nvPr>
        </p:nvGraphicFramePr>
        <p:xfrm>
          <a:off x="623888" y="1871663"/>
          <a:ext cx="7270750" cy="392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958740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14ED951F-D114-0645-F347-DC32468C9D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8310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5" imgH="343" progId="TCLayout.ActiveDocument.1">
                  <p:embed/>
                </p:oleObj>
              </mc:Choice>
              <mc:Fallback>
                <p:oleObj name="think-cell Folie" r:id="rId3" imgW="345" imgH="343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ED951F-D114-0645-F347-DC32468C9D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229FF5F-B14A-5DA1-FDF1-DCB319BCCAB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EDB35FF-48FE-4539-886A-6B3E6CAB12DA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063115D-3F64-3C4C-ABF1-2F4C34693F9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460000" y="4359389"/>
            <a:ext cx="3240000" cy="1575802"/>
          </a:xfrm>
        </p:spPr>
        <p:txBody>
          <a:bodyPr/>
          <a:lstStyle/>
          <a:p>
            <a:r>
              <a:rPr lang="de-DE" dirty="0"/>
              <a:t>Die USA sind stark in der Forschung. China hat die EU hier inzwischen überholt.</a:t>
            </a:r>
          </a:p>
          <a:p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628DAF3C-3ECA-16A9-C9A4-031378CA70B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59788" y="4133980"/>
            <a:ext cx="3276000" cy="216000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Quellen: </a:t>
            </a:r>
            <a:r>
              <a:rPr lang="de-DE" dirty="0" err="1">
                <a:solidFill>
                  <a:schemeClr val="tx2"/>
                </a:solidFill>
              </a:rPr>
              <a:t>Macrobond</a:t>
            </a:r>
            <a:r>
              <a:rPr lang="de-DE" dirty="0">
                <a:solidFill>
                  <a:schemeClr val="tx2"/>
                </a:solidFill>
              </a:rPr>
              <a:t>, VCI, Datenstand: 2024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5D744B7-095F-2BF5-1B76-4CED9C6A835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00000" y="4359389"/>
            <a:ext cx="3240000" cy="1575802"/>
          </a:xfrm>
        </p:spPr>
        <p:txBody>
          <a:bodyPr/>
          <a:lstStyle/>
          <a:p>
            <a:r>
              <a:rPr lang="de-DE" dirty="0"/>
              <a:t>China ist stark auf die Industrie fokussiert. Die Bruttowertschöpfung der Industrie übersteigt USA und EU deutlich.</a:t>
            </a:r>
          </a:p>
          <a:p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B5E68609-BECB-4637-C964-D3ECCF96309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503562" y="4133980"/>
            <a:ext cx="3276000" cy="216000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Quellen: </a:t>
            </a:r>
            <a:r>
              <a:rPr lang="de-DE" dirty="0" err="1">
                <a:solidFill>
                  <a:schemeClr val="tx2"/>
                </a:solidFill>
              </a:rPr>
              <a:t>Macrobond</a:t>
            </a:r>
            <a:r>
              <a:rPr lang="de-DE" dirty="0">
                <a:solidFill>
                  <a:schemeClr val="tx2"/>
                </a:solidFill>
              </a:rPr>
              <a:t>, VCI, Datenstand: 2024</a:t>
            </a:r>
          </a:p>
          <a:p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DA9723CD-28FA-7E21-81B7-B9FCE9DDBF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40000" y="4359389"/>
            <a:ext cx="3240000" cy="1575802"/>
          </a:xfrm>
        </p:spPr>
        <p:txBody>
          <a:bodyPr/>
          <a:lstStyle/>
          <a:p>
            <a:r>
              <a:rPr lang="de-DE" dirty="0"/>
              <a:t>Die USA sind der größte Wirtschaftsraum. China und die EU folgen mit Abstand.</a:t>
            </a:r>
          </a:p>
          <a:p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8D17495-9295-5577-AD8A-F0099B543E6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39750" y="4133980"/>
            <a:ext cx="3276000" cy="216000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Quellen: </a:t>
            </a:r>
            <a:r>
              <a:rPr lang="de-DE" dirty="0" err="1">
                <a:solidFill>
                  <a:schemeClr val="tx2"/>
                </a:solidFill>
              </a:rPr>
              <a:t>Macrobond</a:t>
            </a:r>
            <a:r>
              <a:rPr lang="de-DE" dirty="0">
                <a:solidFill>
                  <a:schemeClr val="tx2"/>
                </a:solidFill>
              </a:rPr>
              <a:t>, VCI, Datenstand: 2024</a:t>
            </a:r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224C3463-BC5E-363A-AB47-BB1446986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Nur als EU mit Wettbewerbern auf Augenhöhe</a:t>
            </a:r>
          </a:p>
        </p:txBody>
      </p:sp>
      <p:graphicFrame>
        <p:nvGraphicFramePr>
          <p:cNvPr id="6" name="Bildplatzhalter 5">
            <a:extLst>
              <a:ext uri="{FF2B5EF4-FFF2-40B4-BE49-F238E27FC236}">
                <a16:creationId xmlns:a16="http://schemas.microsoft.com/office/drawing/2014/main" id="{053461FA-AE29-4C39-BBC8-CF81A1653090}"/>
              </a:ext>
            </a:extLst>
          </p:cNvPr>
          <p:cNvGraphicFramePr>
            <a:graphicFrameLocks noGrp="1"/>
          </p:cNvGraphicFramePr>
          <p:nvPr>
            <p:ph type="pic" sz="quarter" idx="13"/>
          </p:nvPr>
        </p:nvGraphicFramePr>
        <p:xfrm>
          <a:off x="539750" y="1257300"/>
          <a:ext cx="3240088" cy="2881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Bildplatzhalter 12">
            <a:extLst>
              <a:ext uri="{FF2B5EF4-FFF2-40B4-BE49-F238E27FC236}">
                <a16:creationId xmlns:a16="http://schemas.microsoft.com/office/drawing/2014/main" id="{5EA3DE18-E7D6-4EA7-8DDD-073AD7DF28FA}"/>
              </a:ext>
            </a:extLst>
          </p:cNvPr>
          <p:cNvGraphicFramePr>
            <a:graphicFrameLocks noGrp="1"/>
          </p:cNvGraphicFramePr>
          <p:nvPr>
            <p:ph type="pic" sz="quarter" idx="30"/>
          </p:nvPr>
        </p:nvGraphicFramePr>
        <p:xfrm>
          <a:off x="8459788" y="1257300"/>
          <a:ext cx="3240087" cy="2881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0" name="Bildplatzhalter 19">
            <a:extLst>
              <a:ext uri="{FF2B5EF4-FFF2-40B4-BE49-F238E27FC236}">
                <a16:creationId xmlns:a16="http://schemas.microsoft.com/office/drawing/2014/main" id="{34C3C828-B4E4-44D7-96C9-9BA2485A9B7D}"/>
              </a:ext>
            </a:extLst>
          </p:cNvPr>
          <p:cNvGraphicFramePr>
            <a:graphicFrameLocks noGrp="1"/>
          </p:cNvGraphicFramePr>
          <p:nvPr>
            <p:ph type="pic" sz="quarter" idx="27"/>
          </p:nvPr>
        </p:nvGraphicFramePr>
        <p:xfrm>
          <a:off x="4500563" y="1257300"/>
          <a:ext cx="3240087" cy="2881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65721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CI-Layouts">
  <a:themeElements>
    <a:clrScheme name="VCI_2025">
      <a:dk1>
        <a:sysClr val="windowText" lastClr="000000"/>
      </a:dk1>
      <a:lt1>
        <a:sysClr val="window" lastClr="FFFFFF"/>
      </a:lt1>
      <a:dk2>
        <a:srgbClr val="10065A"/>
      </a:dk2>
      <a:lt2>
        <a:srgbClr val="F0F3F7"/>
      </a:lt2>
      <a:accent1>
        <a:srgbClr val="FF3EB5"/>
      </a:accent1>
      <a:accent2>
        <a:srgbClr val="10ADAA"/>
      </a:accent2>
      <a:accent3>
        <a:srgbClr val="8C3E9F"/>
      </a:accent3>
      <a:accent4>
        <a:srgbClr val="FF4414"/>
      </a:accent4>
      <a:accent5>
        <a:srgbClr val="FFAD00"/>
      </a:accent5>
      <a:accent6>
        <a:srgbClr val="10AD00"/>
      </a:accent6>
      <a:hlink>
        <a:srgbClr val="10069F"/>
      </a:hlink>
      <a:folHlink>
        <a:srgbClr val="8C3E9F"/>
      </a:folHlink>
    </a:clrScheme>
    <a:fontScheme name="VCI_2025">
      <a:majorFont>
        <a:latin typeface="Montserrat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0069F"/>
        </a:solidFill>
        <a:ln>
          <a:noFill/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Dunkelblau">
      <a:srgbClr val="10065A"/>
    </a:custClr>
    <a:custClr name="VCI-Blau">
      <a:srgbClr val="10069F"/>
    </a:custClr>
    <a:custClr name="Pink">
      <a:srgbClr val="FF3EB5"/>
    </a:custClr>
    <a:custClr name="Tuerkis">
      <a:srgbClr val="10ADAA"/>
    </a:custClr>
    <a:custClr name="Violett">
      <a:srgbClr val="8C3E9F"/>
    </a:custClr>
    <a:custClr name="Orange">
      <a:srgbClr val="FF4414"/>
    </a:custClr>
    <a:custClr name="Gold">
      <a:srgbClr val="FFAD00"/>
    </a:custClr>
    <a:custClr name="Gruen">
      <a:srgbClr val="10AD00"/>
    </a:custClr>
    <a:custClr name="Blaugrau">
      <a:srgbClr val="F0F3F7"/>
    </a:custClr>
    <a:custClr name=" ">
      <a:srgbClr val="FFFFFF"/>
    </a:custClr>
    <a:custClr name="Dunkelblau_10">
      <a:srgbClr val="E7E6EF"/>
    </a:custClr>
    <a:custClr name="Blau_10">
      <a:srgbClr val="E7E6F6"/>
    </a:custClr>
    <a:custClr name="Pink_10">
      <a:srgbClr val="FFECF8"/>
    </a:custClr>
    <a:custClr name="Tuerkis_10">
      <a:srgbClr val="E7F6F6"/>
    </a:custClr>
    <a:custClr name="Violett_10">
      <a:srgbClr val="F3EBF5"/>
    </a:custClr>
    <a:custClr name="Orange_10">
      <a:srgbClr val="FFEDE8"/>
    </a:custClr>
    <a:custClr name="Gold_10">
      <a:srgbClr val="FFF6E5"/>
    </a:custClr>
    <a:custClr name="Gruen_10">
      <a:srgbClr val="E7F7E6"/>
    </a:custClr>
    <a:custClr name="Blaugrau_10">
      <a:srgbClr val="FEFEFE"/>
    </a:custClr>
  </a:custClrLst>
  <a:extLst>
    <a:ext uri="{05A4C25C-085E-4340-85A3-A5531E510DB2}">
      <thm15:themeFamily xmlns:thm15="http://schemas.microsoft.com/office/thememl/2012/main" name="VCI-PP Vorlage-mit-Beispielen - Kopie.potx" id="{2330E2F9-9903-4BD3-9DA1-C09097A0152B}" vid="{ADFABABF-7110-4641-A439-1C6D4FD7443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VCI 2025">
    <a:dk1>
      <a:sysClr val="windowText" lastClr="000000"/>
    </a:dk1>
    <a:lt1>
      <a:sysClr val="window" lastClr="FFFFFF"/>
    </a:lt1>
    <a:dk2>
      <a:srgbClr val="10065A"/>
    </a:dk2>
    <a:lt2>
      <a:srgbClr val="F0F3F7"/>
    </a:lt2>
    <a:accent1>
      <a:srgbClr val="10069F"/>
    </a:accent1>
    <a:accent2>
      <a:srgbClr val="FF3EB5"/>
    </a:accent2>
    <a:accent3>
      <a:srgbClr val="FFAD00"/>
    </a:accent3>
    <a:accent4>
      <a:srgbClr val="10ADAA"/>
    </a:accent4>
    <a:accent5>
      <a:srgbClr val="8C3E9F"/>
    </a:accent5>
    <a:accent6>
      <a:srgbClr val="FF4414"/>
    </a:accent6>
    <a:hlink>
      <a:srgbClr val="10069F"/>
    </a:hlink>
    <a:folHlink>
      <a:srgbClr val="8C3E9F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VCI 2025">
    <a:dk1>
      <a:sysClr val="windowText" lastClr="000000"/>
    </a:dk1>
    <a:lt1>
      <a:sysClr val="window" lastClr="FFFFFF"/>
    </a:lt1>
    <a:dk2>
      <a:srgbClr val="10065A"/>
    </a:dk2>
    <a:lt2>
      <a:srgbClr val="F0F3F7"/>
    </a:lt2>
    <a:accent1>
      <a:srgbClr val="10069F"/>
    </a:accent1>
    <a:accent2>
      <a:srgbClr val="FF3EB5"/>
    </a:accent2>
    <a:accent3>
      <a:srgbClr val="FFAD00"/>
    </a:accent3>
    <a:accent4>
      <a:srgbClr val="10ADAA"/>
    </a:accent4>
    <a:accent5>
      <a:srgbClr val="8C3E9F"/>
    </a:accent5>
    <a:accent6>
      <a:srgbClr val="FF4414"/>
    </a:accent6>
    <a:hlink>
      <a:srgbClr val="10069F"/>
    </a:hlink>
    <a:folHlink>
      <a:srgbClr val="8C3E9F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VCI 2025">
    <a:dk1>
      <a:sysClr val="windowText" lastClr="000000"/>
    </a:dk1>
    <a:lt1>
      <a:sysClr val="window" lastClr="FFFFFF"/>
    </a:lt1>
    <a:dk2>
      <a:srgbClr val="10065A"/>
    </a:dk2>
    <a:lt2>
      <a:srgbClr val="F0F3F7"/>
    </a:lt2>
    <a:accent1>
      <a:srgbClr val="10069F"/>
    </a:accent1>
    <a:accent2>
      <a:srgbClr val="FF3EB5"/>
    </a:accent2>
    <a:accent3>
      <a:srgbClr val="FFAD00"/>
    </a:accent3>
    <a:accent4>
      <a:srgbClr val="10ADAA"/>
    </a:accent4>
    <a:accent5>
      <a:srgbClr val="8C3E9F"/>
    </a:accent5>
    <a:accent6>
      <a:srgbClr val="FF4414"/>
    </a:accent6>
    <a:hlink>
      <a:srgbClr val="10069F"/>
    </a:hlink>
    <a:folHlink>
      <a:srgbClr val="8C3E9F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VCI 2025">
    <a:dk1>
      <a:sysClr val="windowText" lastClr="000000"/>
    </a:dk1>
    <a:lt1>
      <a:sysClr val="window" lastClr="FFFFFF"/>
    </a:lt1>
    <a:dk2>
      <a:srgbClr val="10065A"/>
    </a:dk2>
    <a:lt2>
      <a:srgbClr val="F0F3F7"/>
    </a:lt2>
    <a:accent1>
      <a:srgbClr val="10069F"/>
    </a:accent1>
    <a:accent2>
      <a:srgbClr val="FF3EB5"/>
    </a:accent2>
    <a:accent3>
      <a:srgbClr val="FFAD00"/>
    </a:accent3>
    <a:accent4>
      <a:srgbClr val="10ADAA"/>
    </a:accent4>
    <a:accent5>
      <a:srgbClr val="8C3E9F"/>
    </a:accent5>
    <a:accent6>
      <a:srgbClr val="FF4414"/>
    </a:accent6>
    <a:hlink>
      <a:srgbClr val="10069F"/>
    </a:hlink>
    <a:folHlink>
      <a:srgbClr val="8C3E9F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VCI 2025">
    <a:dk1>
      <a:sysClr val="windowText" lastClr="000000"/>
    </a:dk1>
    <a:lt1>
      <a:sysClr val="window" lastClr="FFFFFF"/>
    </a:lt1>
    <a:dk2>
      <a:srgbClr val="10065A"/>
    </a:dk2>
    <a:lt2>
      <a:srgbClr val="F0F3F7"/>
    </a:lt2>
    <a:accent1>
      <a:srgbClr val="10069F"/>
    </a:accent1>
    <a:accent2>
      <a:srgbClr val="FF3EB5"/>
    </a:accent2>
    <a:accent3>
      <a:srgbClr val="FFAD00"/>
    </a:accent3>
    <a:accent4>
      <a:srgbClr val="10ADAA"/>
    </a:accent4>
    <a:accent5>
      <a:srgbClr val="8C3E9F"/>
    </a:accent5>
    <a:accent6>
      <a:srgbClr val="FF4414"/>
    </a:accent6>
    <a:hlink>
      <a:srgbClr val="10069F"/>
    </a:hlink>
    <a:folHlink>
      <a:srgbClr val="8C3E9F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VCI 2025">
    <a:dk1>
      <a:sysClr val="windowText" lastClr="000000"/>
    </a:dk1>
    <a:lt1>
      <a:sysClr val="window" lastClr="FFFFFF"/>
    </a:lt1>
    <a:dk2>
      <a:srgbClr val="10065A"/>
    </a:dk2>
    <a:lt2>
      <a:srgbClr val="F0F3F7"/>
    </a:lt2>
    <a:accent1>
      <a:srgbClr val="10069F"/>
    </a:accent1>
    <a:accent2>
      <a:srgbClr val="FF3EB5"/>
    </a:accent2>
    <a:accent3>
      <a:srgbClr val="FFAD00"/>
    </a:accent3>
    <a:accent4>
      <a:srgbClr val="10ADAA"/>
    </a:accent4>
    <a:accent5>
      <a:srgbClr val="8C3E9F"/>
    </a:accent5>
    <a:accent6>
      <a:srgbClr val="FF4414"/>
    </a:accent6>
    <a:hlink>
      <a:srgbClr val="10069F"/>
    </a:hlink>
    <a:folHlink>
      <a:srgbClr val="8C3E9F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VCI 2025">
    <a:dk1>
      <a:sysClr val="windowText" lastClr="000000"/>
    </a:dk1>
    <a:lt1>
      <a:sysClr val="window" lastClr="FFFFFF"/>
    </a:lt1>
    <a:dk2>
      <a:srgbClr val="10065A"/>
    </a:dk2>
    <a:lt2>
      <a:srgbClr val="F0F3F7"/>
    </a:lt2>
    <a:accent1>
      <a:srgbClr val="10069F"/>
    </a:accent1>
    <a:accent2>
      <a:srgbClr val="FF3EB5"/>
    </a:accent2>
    <a:accent3>
      <a:srgbClr val="FFAD00"/>
    </a:accent3>
    <a:accent4>
      <a:srgbClr val="10ADAA"/>
    </a:accent4>
    <a:accent5>
      <a:srgbClr val="8C3E9F"/>
    </a:accent5>
    <a:accent6>
      <a:srgbClr val="FF4414"/>
    </a:accent6>
    <a:hlink>
      <a:srgbClr val="10069F"/>
    </a:hlink>
    <a:folHlink>
      <a:srgbClr val="8C3E9F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VCI 2025">
    <a:dk1>
      <a:sysClr val="windowText" lastClr="000000"/>
    </a:dk1>
    <a:lt1>
      <a:sysClr val="window" lastClr="FFFFFF"/>
    </a:lt1>
    <a:dk2>
      <a:srgbClr val="10065A"/>
    </a:dk2>
    <a:lt2>
      <a:srgbClr val="F0F3F7"/>
    </a:lt2>
    <a:accent1>
      <a:srgbClr val="10069F"/>
    </a:accent1>
    <a:accent2>
      <a:srgbClr val="FF3EB5"/>
    </a:accent2>
    <a:accent3>
      <a:srgbClr val="FFAD00"/>
    </a:accent3>
    <a:accent4>
      <a:srgbClr val="10ADAA"/>
    </a:accent4>
    <a:accent5>
      <a:srgbClr val="8C3E9F"/>
    </a:accent5>
    <a:accent6>
      <a:srgbClr val="FF4414"/>
    </a:accent6>
    <a:hlink>
      <a:srgbClr val="10069F"/>
    </a:hlink>
    <a:folHlink>
      <a:srgbClr val="8C3E9F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VCI 2025">
    <a:dk1>
      <a:sysClr val="windowText" lastClr="000000"/>
    </a:dk1>
    <a:lt1>
      <a:sysClr val="window" lastClr="FFFFFF"/>
    </a:lt1>
    <a:dk2>
      <a:srgbClr val="10065A"/>
    </a:dk2>
    <a:lt2>
      <a:srgbClr val="F0F3F7"/>
    </a:lt2>
    <a:accent1>
      <a:srgbClr val="10069F"/>
    </a:accent1>
    <a:accent2>
      <a:srgbClr val="FF3EB5"/>
    </a:accent2>
    <a:accent3>
      <a:srgbClr val="FFAD00"/>
    </a:accent3>
    <a:accent4>
      <a:srgbClr val="10ADAA"/>
    </a:accent4>
    <a:accent5>
      <a:srgbClr val="8C3E9F"/>
    </a:accent5>
    <a:accent6>
      <a:srgbClr val="FF4414"/>
    </a:accent6>
    <a:hlink>
      <a:srgbClr val="10069F"/>
    </a:hlink>
    <a:folHlink>
      <a:srgbClr val="8C3E9F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VCI 2025">
    <a:dk1>
      <a:sysClr val="windowText" lastClr="000000"/>
    </a:dk1>
    <a:lt1>
      <a:sysClr val="window" lastClr="FFFFFF"/>
    </a:lt1>
    <a:dk2>
      <a:srgbClr val="10065A"/>
    </a:dk2>
    <a:lt2>
      <a:srgbClr val="F0F3F7"/>
    </a:lt2>
    <a:accent1>
      <a:srgbClr val="10069F"/>
    </a:accent1>
    <a:accent2>
      <a:srgbClr val="FF3EB5"/>
    </a:accent2>
    <a:accent3>
      <a:srgbClr val="FFAD00"/>
    </a:accent3>
    <a:accent4>
      <a:srgbClr val="10ADAA"/>
    </a:accent4>
    <a:accent5>
      <a:srgbClr val="8C3E9F"/>
    </a:accent5>
    <a:accent6>
      <a:srgbClr val="FF4414"/>
    </a:accent6>
    <a:hlink>
      <a:srgbClr val="10069F"/>
    </a:hlink>
    <a:folHlink>
      <a:srgbClr val="8C3E9F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E2ECDCE7963848BE8026999C29C87C" ma:contentTypeVersion="12" ma:contentTypeDescription="Create a new document." ma:contentTypeScope="" ma:versionID="4b4d50656b906236bb57cdbca19014ba">
  <xsd:schema xmlns:xsd="http://www.w3.org/2001/XMLSchema" xmlns:xs="http://www.w3.org/2001/XMLSchema" xmlns:p="http://schemas.microsoft.com/office/2006/metadata/properties" xmlns:ns2="f419676e-231e-4a92-8714-0ff896738fc6" xmlns:ns3="568dfcef-6e46-41c2-bd36-2f30ecf621fc" targetNamespace="http://schemas.microsoft.com/office/2006/metadata/properties" ma:root="true" ma:fieldsID="a3d4aa8d67b6c05ad31e289915dfc1b2" ns2:_="" ns3:_="">
    <xsd:import namespace="f419676e-231e-4a92-8714-0ff896738fc6"/>
    <xsd:import namespace="568dfcef-6e46-41c2-bd36-2f30ecf621fc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19676e-231e-4a92-8714-0ff896738fc6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2f721015-1e04-4c72-962b-a5b8b69cefd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1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8dfcef-6e46-41c2-bd36-2f30ecf621fc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54b727f2-8edd-4450-9a8b-f810ec72d056}" ma:internalName="TaxCatchAll" ma:showField="CatchAllData" ma:web="568dfcef-6e46-41c2-bd36-2f30ecf621f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419676e-231e-4a92-8714-0ff896738fc6">
      <Terms xmlns="http://schemas.microsoft.com/office/infopath/2007/PartnerControls"/>
    </lcf76f155ced4ddcb4097134ff3c332f>
    <TaxCatchAll xmlns="568dfcef-6e46-41c2-bd36-2f30ecf621f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B87408-9BB6-4E15-BEC5-6796212FEE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419676e-231e-4a92-8714-0ff896738fc6"/>
    <ds:schemaRef ds:uri="568dfcef-6e46-41c2-bd36-2f30ecf621f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27E423D-0FA7-422B-8AA5-8E617D997508}">
  <ds:schemaRefs>
    <ds:schemaRef ds:uri="http://purl.org/dc/terms/"/>
    <ds:schemaRef ds:uri="f419676e-231e-4a92-8714-0ff896738fc6"/>
    <ds:schemaRef ds:uri="http://purl.org/dc/dcmitype/"/>
    <ds:schemaRef ds:uri="568dfcef-6e46-41c2-bd36-2f30ecf621fc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A1AA73A6-932E-4BE1-ABFC-27617E43DC3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CI-PP Vorlage-blanko</Template>
  <TotalTime>0</TotalTime>
  <Words>687</Words>
  <Application>Microsoft Office PowerPoint</Application>
  <PresentationFormat>Breitbild</PresentationFormat>
  <Paragraphs>101</Paragraphs>
  <Slides>10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Arial</vt:lpstr>
      <vt:lpstr>Calibri</vt:lpstr>
      <vt:lpstr>Gotham Black</vt:lpstr>
      <vt:lpstr>Montserrat</vt:lpstr>
      <vt:lpstr>Montserrat Black</vt:lpstr>
      <vt:lpstr>Source Sans Pro</vt:lpstr>
      <vt:lpstr>VCI_Symbole</vt:lpstr>
      <vt:lpstr>VCI-Layouts</vt:lpstr>
      <vt:lpstr>think-cell Folie</vt:lpstr>
      <vt:lpstr>Industrieland Deutschland</vt:lpstr>
      <vt:lpstr>Die Industrie: wichtige Stütze der Wirtschaft</vt:lpstr>
      <vt:lpstr>Die Industrie: wichtiger Arbeitgeber</vt:lpstr>
      <vt:lpstr>Die Industrie: zahlt hohe Löhne und Gehälter</vt:lpstr>
      <vt:lpstr>Die Industrie: Exportstark</vt:lpstr>
      <vt:lpstr>Bewertung des Standorts verbessert sich</vt:lpstr>
      <vt:lpstr>Deutschland fällt hinter Japan zurück</vt:lpstr>
      <vt:lpstr>Industrie verliert an Bedeutung</vt:lpstr>
      <vt:lpstr>Nur als EU mit Wettbewerbern auf Augenhöhe</vt:lpstr>
      <vt:lpstr>Ansprechpartneri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ellermann, Christiane</dc:creator>
  <cp:lastModifiedBy>Kellermann, Christiane</cp:lastModifiedBy>
  <cp:revision>2</cp:revision>
  <dcterms:created xsi:type="dcterms:W3CDTF">2025-06-02T14:59:28Z</dcterms:created>
  <dcterms:modified xsi:type="dcterms:W3CDTF">2025-12-03T14:3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E2ECDCE7963848BE8026999C29C87C</vt:lpwstr>
  </property>
  <property fmtid="{D5CDD505-2E9C-101B-9397-08002B2CF9AE}" pid="3" name="MediaServiceImageTags">
    <vt:lpwstr/>
  </property>
</Properties>
</file>